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5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6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4"/>
    <p:sldMasterId id="2147483648" r:id="rId5"/>
    <p:sldMasterId id="2147483738" r:id="rId6"/>
    <p:sldMasterId id="2147483913" r:id="rId7"/>
    <p:sldMasterId id="2147483921" r:id="rId8"/>
    <p:sldMasterId id="2147483949" r:id="rId9"/>
    <p:sldMasterId id="2147483954" r:id="rId10"/>
  </p:sldMasterIdLst>
  <p:notesMasterIdLst>
    <p:notesMasterId r:id="rId32"/>
  </p:notesMasterIdLst>
  <p:handoutMasterIdLst>
    <p:handoutMasterId r:id="rId33"/>
  </p:handoutMasterIdLst>
  <p:sldIdLst>
    <p:sldId id="2147481480" r:id="rId11"/>
    <p:sldId id="2147481481" r:id="rId12"/>
    <p:sldId id="256" r:id="rId13"/>
    <p:sldId id="2147481482" r:id="rId14"/>
    <p:sldId id="2147481484" r:id="rId15"/>
    <p:sldId id="2147481487" r:id="rId16"/>
    <p:sldId id="2147481488" r:id="rId17"/>
    <p:sldId id="2147481486" r:id="rId18"/>
    <p:sldId id="2147481489" r:id="rId19"/>
    <p:sldId id="2147481490" r:id="rId20"/>
    <p:sldId id="2147481491" r:id="rId21"/>
    <p:sldId id="2147481492" r:id="rId22"/>
    <p:sldId id="2147481494" r:id="rId23"/>
    <p:sldId id="2147481493" r:id="rId24"/>
    <p:sldId id="2147481495" r:id="rId25"/>
    <p:sldId id="2147481496" r:id="rId26"/>
    <p:sldId id="2147481497" r:id="rId27"/>
    <p:sldId id="2147481498" r:id="rId28"/>
    <p:sldId id="2147481499" r:id="rId29"/>
    <p:sldId id="2147481500" r:id="rId30"/>
    <p:sldId id="5057" r:id="rId31"/>
  </p:sldIdLst>
  <p:sldSz cx="12192000" cy="6858000"/>
  <p:notesSz cx="6858000" cy="9144000"/>
  <p:defaultTextStyle>
    <a:defPPr>
      <a:defRPr lang="en-US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100000"/>
      </a:lnSpc>
      <a:spcBef>
        <a:spcPts val="60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100000"/>
      </a:lnSpc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lnSpc>
        <a:spcPct val="100000"/>
      </a:lnSpc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lnSpc>
        <a:spcPct val="100000"/>
      </a:lnSpc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2" orient="horz" pos="255" userDrawn="1">
          <p15:clr>
            <a:srgbClr val="A4A3A4"/>
          </p15:clr>
        </p15:guide>
        <p15:guide id="3" orient="horz" pos="4065" userDrawn="1">
          <p15:clr>
            <a:srgbClr val="A4A3A4"/>
          </p15:clr>
        </p15:guide>
        <p15:guide id="4" pos="257" userDrawn="1">
          <p15:clr>
            <a:srgbClr val="A4A3A4"/>
          </p15:clr>
        </p15:guide>
        <p15:guide id="5" pos="74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80D2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DB8609-6BC4-49B3-8356-54D6016895D2}" v="3917" dt="2025-10-28T16:00:45.3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283" autoAdjust="0"/>
  </p:normalViewPr>
  <p:slideViewPr>
    <p:cSldViewPr snapToGrid="0">
      <p:cViewPr varScale="1">
        <p:scale>
          <a:sx n="104" d="100"/>
          <a:sy n="104" d="100"/>
        </p:scale>
        <p:origin x="1548" y="72"/>
      </p:cViewPr>
      <p:guideLst>
        <p:guide orient="horz" pos="890"/>
        <p:guide orient="horz" pos="255"/>
        <p:guide orient="horz" pos="4065"/>
        <p:guide pos="257"/>
        <p:guide pos="742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handoutMaster" Target="handoutMasters/handoutMaster1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BE4B7A8-D43D-DDDB-0B23-01EAC36421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92E8D3-2494-AA7F-2F56-2BB43FF75D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0CA1D-D591-4712-A0B9-50E67945B752}" type="datetimeFigureOut">
              <a:rPr lang="en-US" smtClean="0"/>
              <a:t>10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B89644-29E6-BC83-3069-4E53D0F986F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EFCB95-6D0E-6B3B-F931-C2631C27D4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DD9EDA-9698-4DC3-9262-C42B57CBF6F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0260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615CBB-2351-4537-BF72-AD42AC9806CE}" type="datetimeFigureOut">
              <a:rPr lang="en-US" smtClean="0"/>
              <a:t>10/2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B8B235-C525-4495-A562-C2710E88670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812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4861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ADE38A-C2CA-4A86-C9E6-8BB2A846B4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>
            <a:extLst>
              <a:ext uri="{FF2B5EF4-FFF2-40B4-BE49-F238E27FC236}">
                <a16:creationId xmlns:a16="http://schemas.microsoft.com/office/drawing/2014/main" id="{ADB09FB8-9F40-2537-CB7B-6787E32B21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>
            <a:extLst>
              <a:ext uri="{FF2B5EF4-FFF2-40B4-BE49-F238E27FC236}">
                <a16:creationId xmlns:a16="http://schemas.microsoft.com/office/drawing/2014/main" id="{B5CB3BE7-F0CB-D44B-EDD5-F50CC29AA6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ceholder 3">
            <a:extLst>
              <a:ext uri="{FF2B5EF4-FFF2-40B4-BE49-F238E27FC236}">
                <a16:creationId xmlns:a16="http://schemas.microsoft.com/office/drawing/2014/main" id="{E6CE262D-D73E-EB77-DFCE-D6D05213F1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092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8B235-C525-4495-A562-C2710E88670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66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224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wmf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18" Type="http://schemas.openxmlformats.org/officeDocument/2006/relationships/image" Target="../media/image43.png"/><Relationship Id="rId3" Type="http://schemas.openxmlformats.org/officeDocument/2006/relationships/image" Target="../media/image6.png"/><Relationship Id="rId21" Type="http://schemas.openxmlformats.org/officeDocument/2006/relationships/image" Target="../media/image46.png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image" Target="../media/image29.png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1.jpeg"/><Relationship Id="rId11" Type="http://schemas.openxmlformats.org/officeDocument/2006/relationships/image" Target="../media/image36.png"/><Relationship Id="rId5" Type="http://schemas.openxmlformats.org/officeDocument/2006/relationships/image" Target="../media/image30.jpeg"/><Relationship Id="rId15" Type="http://schemas.openxmlformats.org/officeDocument/2006/relationships/image" Target="../media/image40.png"/><Relationship Id="rId23" Type="http://schemas.openxmlformats.org/officeDocument/2006/relationships/image" Target="../media/image48.png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4" Type="http://schemas.openxmlformats.org/officeDocument/2006/relationships/image" Target="../media/image7.svg"/><Relationship Id="rId9" Type="http://schemas.openxmlformats.org/officeDocument/2006/relationships/image" Target="../media/image34.png"/><Relationship Id="rId14" Type="http://schemas.openxmlformats.org/officeDocument/2006/relationships/image" Target="../media/image39.png"/><Relationship Id="rId22" Type="http://schemas.openxmlformats.org/officeDocument/2006/relationships/image" Target="../media/image4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7.sv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png"/><Relationship Id="rId5" Type="http://schemas.openxmlformats.org/officeDocument/2006/relationships/image" Target="../media/image51.svg"/><Relationship Id="rId4" Type="http://schemas.openxmlformats.org/officeDocument/2006/relationships/image" Target="../media/image4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5.sv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5.sv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7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7" Type="http://schemas.openxmlformats.org/officeDocument/2006/relationships/image" Target="../media/image7.sv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png"/><Relationship Id="rId5" Type="http://schemas.openxmlformats.org/officeDocument/2006/relationships/image" Target="../media/image36.png"/><Relationship Id="rId4" Type="http://schemas.openxmlformats.org/officeDocument/2006/relationships/image" Target="../media/image59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7" Type="http://schemas.openxmlformats.org/officeDocument/2006/relationships/image" Target="../media/image7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png"/><Relationship Id="rId5" Type="http://schemas.openxmlformats.org/officeDocument/2006/relationships/image" Target="../media/image36.png"/><Relationship Id="rId4" Type="http://schemas.openxmlformats.org/officeDocument/2006/relationships/image" Target="../media/image61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5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7" Type="http://schemas.openxmlformats.org/officeDocument/2006/relationships/image" Target="../media/image7.sv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png"/><Relationship Id="rId5" Type="http://schemas.openxmlformats.org/officeDocument/2006/relationships/image" Target="../media/image36.png"/><Relationship Id="rId4" Type="http://schemas.openxmlformats.org/officeDocument/2006/relationships/image" Target="../media/image65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36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68.wmf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69.w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70.wmf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wmf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wmf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68.wmf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69.wmf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70.wmf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wmf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373AC2B-7C4F-783D-D6F2-BCE969F488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717272B-B864-D450-1C24-ED25197B686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07988" y="1412875"/>
            <a:ext cx="5400000" cy="3240000"/>
          </a:xfrm>
        </p:spPr>
        <p:txBody>
          <a:bodyPr anchor="b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4C4D1A-35DF-A5A0-AAD5-804374E5F4B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8" y="4806362"/>
            <a:ext cx="5400000" cy="1638782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E210C7A-D035-027A-2CEC-10224ADB78F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gray">
          <a:xfrm>
            <a:off x="7070724" y="1736724"/>
            <a:ext cx="5121276" cy="512127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CD280DA-A22E-9C19-470F-00094798CB9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9489440" y="530502"/>
            <a:ext cx="2079325" cy="3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6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ky with Outline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icture containing outdoor, nature, night sky&#10;&#10;Description automatically generated">
            <a:extLst>
              <a:ext uri="{FF2B5EF4-FFF2-40B4-BE49-F238E27FC236}">
                <a16:creationId xmlns:a16="http://schemas.microsoft.com/office/drawing/2014/main" id="{0AE8E777-9E25-8B52-6CEA-719F43707E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9838944" y="0"/>
            <a:ext cx="235305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14C31E-1753-737C-D7CF-6B6752E99A2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6" y="404814"/>
            <a:ext cx="91440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Imagen 8" descr="Imagen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7FAB5CB1-4781-C3EA-F62F-E5D2AE86F22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842500" y="4508499"/>
            <a:ext cx="2349500" cy="2349501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E7251ED-DAAC-0CA2-72E3-3297BEF0F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7988" y="1412875"/>
            <a:ext cx="9144000" cy="5040313"/>
          </a:xfrm>
        </p:spPr>
        <p:txBody>
          <a:bodyPr/>
          <a:lstStyle>
            <a:lvl1pPr marL="432000" indent="-432000">
              <a:spcBef>
                <a:spcPts val="1200"/>
              </a:spcBef>
              <a:buFont typeface="+mj-lt"/>
              <a:buAutoNum type="arabicPeriod"/>
              <a:defRPr sz="2000"/>
            </a:lvl1pPr>
            <a:lvl2pPr marL="648000">
              <a:defRPr/>
            </a:lvl2pPr>
            <a:lvl3pPr marL="864000">
              <a:defRPr/>
            </a:lvl3pPr>
            <a:lvl4pPr marL="1080000">
              <a:defRPr/>
            </a:lvl4pPr>
            <a:lvl5pPr marL="1296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1874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199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228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9224E-6D9A-F20A-E95C-3BD86FD1C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D3C075-3634-BEB1-AB31-623AD293F0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anuary 2024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657D48-2016-6562-8C30-A2CF18ED1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NTT DATA, Inc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1B9585-B814-96B8-821F-CFBD1EE52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0D39823-8059-4D49-BD26-6D32C31B8621}" type="slidenum">
              <a:rPr lang="en-US" smtClean="0"/>
              <a:pPr algn="ctr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8655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9224E-6D9A-F20A-E95C-3BD86FD1C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1B9585-B814-96B8-821F-CFBD1EE52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D39823-8059-4D49-BD26-6D32C31B8621}" type="slidenum">
              <a:rPr lang="en-SG" smtClean="0"/>
              <a:pPr/>
              <a:t>‹Nº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61734287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nnovation Curve Grid">
            <a:extLst>
              <a:ext uri="{FF2B5EF4-FFF2-40B4-BE49-F238E27FC236}">
                <a16:creationId xmlns:a16="http://schemas.microsoft.com/office/drawing/2014/main" id="{0C9D0259-E82A-B12F-8E05-2C1984243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2057" y="717491"/>
            <a:ext cx="5411528" cy="54115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49224E-6D9A-F20A-E95C-3BD86FD1C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1B9585-B814-96B8-821F-CFBD1EE52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D39823-8059-4D49-BD26-6D32C31B8621}" type="slidenum">
              <a:rPr lang="en-SG" smtClean="0"/>
              <a:pPr/>
              <a:t>‹Nº›</a:t>
            </a:fld>
            <a:endParaRPr lang="en-SG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037B56C5-6DDF-A112-D50F-3CDCC684DF7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442057" y="717492"/>
            <a:ext cx="5411527" cy="5411527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tx1">
              <a:lumMod val="75000"/>
            </a:schemeClr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      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5009212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1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41A231-5EDC-C1A1-4ABB-BC6DA52F4E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979F26-3C27-4303-6B8D-77E75E532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D39823-8059-4D49-BD26-6D32C31B8621}" type="slidenum">
              <a:rPr lang="en-SG" smtClean="0"/>
              <a:pPr/>
              <a:t>‹Nº›</a:t>
            </a:fld>
            <a:endParaRPr lang="en-SG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D21A092-B787-801E-8664-20954CF680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000" y="1371600"/>
            <a:ext cx="11430000" cy="4876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27353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66817-B6CF-A2DE-966F-DB9281D305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0" y="1371600"/>
            <a:ext cx="5562600" cy="48768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829AD-F282-6D19-1BDE-62A372EE46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0" y="1371600"/>
            <a:ext cx="5562600" cy="48768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FB687-132C-1CA9-8A9A-779EFBBCE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FA3CBC-D481-CBC2-5EFC-A4CAE034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60D39823-8059-4D49-BD26-6D32C31B8621}" type="slidenum">
              <a:rPr lang="en-SG" smtClean="0"/>
              <a:pPr/>
              <a:t>‹Nº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73733983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3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66817-B6CF-A2DE-966F-DB9281D305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0" y="1371600"/>
            <a:ext cx="3657600" cy="48768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829AD-F282-6D19-1BDE-62A372EE46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67200" y="1371600"/>
            <a:ext cx="3657600" cy="48768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3BCA8BAD-045F-5449-26C8-1CC7E5D921A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53400" y="1371600"/>
            <a:ext cx="3657600" cy="48768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FB687-132C-1CA9-8A9A-779EFBBCE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961830EF-C2A3-12F2-8D4A-E06DEC52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60D39823-8059-4D49-BD26-6D32C31B8621}" type="slidenum">
              <a:rPr lang="en-SG" smtClean="0"/>
              <a:pPr/>
              <a:t>‹Nº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27157135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EA9222-DBBF-5953-8E15-DA10C04897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838200"/>
            <a:ext cx="11430000" cy="685800"/>
          </a:xfrm>
        </p:spPr>
        <p:txBody>
          <a:bodyPr>
            <a:noAutofit/>
          </a:bodyPr>
          <a:lstStyle>
            <a:lvl1pPr marL="0" indent="0">
              <a:buNone/>
              <a:defRPr lang="en-US" sz="2000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62DF17-A1AB-7E8D-EC34-3A4A87B7B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16319C-85FE-4494-FC99-C4DE72E7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D39823-8059-4D49-BD26-6D32C31B8621}" type="slidenum">
              <a:rPr lang="en-SG" smtClean="0"/>
              <a:pPr/>
              <a:t>‹Nº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34418024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EA9222-DBBF-5953-8E15-DA10C04897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838200"/>
            <a:ext cx="11430000" cy="685800"/>
          </a:xfrm>
        </p:spPr>
        <p:txBody>
          <a:bodyPr>
            <a:noAutofit/>
          </a:bodyPr>
          <a:lstStyle>
            <a:lvl1pPr marL="0" indent="0">
              <a:buNone/>
              <a:defRPr lang="en-US" sz="2000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62DF17-A1AB-7E8D-EC34-3A4A87B7B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16319C-85FE-4494-FC99-C4DE72E7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D39823-8059-4D49-BD26-6D32C31B8621}" type="slidenum">
              <a:rPr lang="en-SG" smtClean="0"/>
              <a:pPr/>
              <a:t>‹Nº›</a:t>
            </a:fld>
            <a:endParaRPr lang="en-SG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568FE96-3E29-F907-5227-E6C308DA183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1000" y="1676400"/>
            <a:ext cx="11430000" cy="45720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91834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EA9222-DBBF-5953-8E15-DA10C04897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838200"/>
            <a:ext cx="11430000" cy="685800"/>
          </a:xfrm>
        </p:spPr>
        <p:txBody>
          <a:bodyPr>
            <a:noAutofit/>
          </a:bodyPr>
          <a:lstStyle>
            <a:lvl1pPr marL="0" indent="0">
              <a:buNone/>
              <a:defRPr lang="en-US" sz="2000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62DF17-A1AB-7E8D-EC34-3A4A87B7B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16319C-85FE-4494-FC99-C4DE72E7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D39823-8059-4D49-BD26-6D32C31B8621}" type="slidenum">
              <a:rPr lang="en-SG" smtClean="0"/>
              <a:pPr/>
              <a:t>‹Nº›</a:t>
            </a:fld>
            <a:endParaRPr lang="en-SG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568FE96-3E29-F907-5227-E6C308DA183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1000" y="1676400"/>
            <a:ext cx="5562600" cy="45720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71A1A39-1496-229F-4AC6-886D7CFB5B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48400" y="1676400"/>
            <a:ext cx="5562600" cy="45720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0365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with Changeab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0CAD39B-281B-7F15-9B4B-29A5FA12E5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9842500" y="0"/>
            <a:ext cx="2349500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14C31E-1753-737C-D7CF-6B6752E99A2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6" y="404814"/>
            <a:ext cx="91440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87D8E86-A298-166A-863D-E5D2C56051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7988" y="1412875"/>
            <a:ext cx="9144000" cy="5040313"/>
          </a:xfrm>
        </p:spPr>
        <p:txBody>
          <a:bodyPr/>
          <a:lstStyle>
            <a:lvl1pPr marL="432000" indent="-432000">
              <a:spcBef>
                <a:spcPts val="1200"/>
              </a:spcBef>
              <a:buFont typeface="+mj-lt"/>
              <a:buAutoNum type="arabicPeriod"/>
              <a:defRPr sz="2000"/>
            </a:lvl1pPr>
            <a:lvl2pPr marL="648000">
              <a:defRPr/>
            </a:lvl2pPr>
            <a:lvl3pPr marL="864000">
              <a:defRPr/>
            </a:lvl3pPr>
            <a:lvl4pPr marL="1080000">
              <a:defRPr/>
            </a:lvl4pPr>
            <a:lvl5pPr marL="1296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9793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199" userDrawn="1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3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568FE96-3E29-F907-5227-E6C308DA183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1000" y="1676400"/>
            <a:ext cx="3657600" cy="45720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71A1A39-1496-229F-4AC6-886D7CFB5B2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67200" y="1676400"/>
            <a:ext cx="3657600" cy="45720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ADFD2628-F803-8221-12EB-7198D350225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53400" y="1676400"/>
            <a:ext cx="3657600" cy="4572000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EA9222-DBBF-5953-8E15-DA10C04897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838200"/>
            <a:ext cx="11430000" cy="685800"/>
          </a:xfrm>
        </p:spPr>
        <p:txBody>
          <a:bodyPr>
            <a:noAutofit/>
          </a:bodyPr>
          <a:lstStyle>
            <a:lvl1pPr marL="0" indent="0">
              <a:buNone/>
              <a:defRPr lang="en-US" sz="2000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62DF17-A1AB-7E8D-EC34-3A4A87B7B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16319C-85FE-4494-FC99-C4DE72E7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D39823-8059-4D49-BD26-6D32C31B8621}" type="slidenum">
              <a:rPr lang="en-SG" smtClean="0"/>
              <a:pPr/>
              <a:t>‹Nº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9001177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mart Navy with Changeab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188801A-13DC-5699-A1D9-14E57FEA2365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0A8C6E2-6E0E-2B09-93DA-84362FE450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9840913" y="0"/>
            <a:ext cx="2351087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14C31E-1753-737C-D7CF-6B6752E99A2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6" y="404814"/>
            <a:ext cx="9144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3417EE9-6B84-F1E4-7343-6678175B2B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7988" y="1412875"/>
            <a:ext cx="9144000" cy="5040313"/>
          </a:xfrm>
        </p:spPr>
        <p:txBody>
          <a:bodyPr/>
          <a:lstStyle>
            <a:lvl1pPr marL="432000" indent="-432000">
              <a:spcBef>
                <a:spcPts val="1200"/>
              </a:spcBef>
              <a:buFont typeface="+mj-lt"/>
              <a:buAutoNum type="arabicPeriod"/>
              <a:defRPr sz="2000">
                <a:solidFill>
                  <a:schemeClr val="bg1"/>
                </a:solidFill>
              </a:defRPr>
            </a:lvl1pPr>
            <a:lvl2pPr marL="648000">
              <a:defRPr>
                <a:solidFill>
                  <a:schemeClr val="bg1"/>
                </a:solidFill>
              </a:defRPr>
            </a:lvl2pPr>
            <a:lvl3pPr marL="864000">
              <a:defRPr>
                <a:solidFill>
                  <a:schemeClr val="bg1"/>
                </a:solidFill>
              </a:defRPr>
            </a:lvl3pPr>
            <a:lvl4pPr marL="1080000">
              <a:defRPr>
                <a:solidFill>
                  <a:schemeClr val="bg1"/>
                </a:solidFill>
              </a:defRPr>
            </a:lvl4pPr>
            <a:lvl5pPr marL="129600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2435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19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Smart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D506629-4E46-D20E-C727-50ECE2618E8B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D73D8D1-BD71-F0BB-19FB-C7CC691559B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4" r="16908" b="16859"/>
          <a:stretch/>
        </p:blipFill>
        <p:spPr bwMode="gray">
          <a:xfrm>
            <a:off x="5344159" y="0"/>
            <a:ext cx="684784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85A6E6-153E-4CE5-FB4B-B91DEEEFD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8" y="1930400"/>
            <a:ext cx="5472000" cy="1008000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0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4634D-08B3-A238-2B8A-EDF379D1430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88" y="3168000"/>
            <a:ext cx="9879012" cy="720000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CE3AAA33-9319-767A-7929-C96E478495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07988" y="3919538"/>
            <a:ext cx="9879012" cy="2533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75531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Huma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D506629-4E46-D20E-C727-50ECE2618E8B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4A561DFB-59AF-F26E-6CE4-3A2F70F69D9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4" r="16908" b="16859"/>
          <a:stretch/>
        </p:blipFill>
        <p:spPr bwMode="gray">
          <a:xfrm>
            <a:off x="5344159" y="0"/>
            <a:ext cx="684784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85A6E6-153E-4CE5-FB4B-B91DEEEFD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8" y="1930400"/>
            <a:ext cx="5472000" cy="1008000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0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4634D-08B3-A238-2B8A-EDF379D1430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88" y="3168000"/>
            <a:ext cx="9879012" cy="720000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ClrTx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0">
            <a:extLst>
              <a:ext uri="{FF2B5EF4-FFF2-40B4-BE49-F238E27FC236}">
                <a16:creationId xmlns:a16="http://schemas.microsoft.com/office/drawing/2014/main" id="{C164A49B-F412-EC1B-BD82-CAD87B099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07988" y="3919538"/>
            <a:ext cx="9879012" cy="2533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91144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Smar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D506629-4E46-D20E-C727-50ECE2618E8B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A6CFDD47-A01A-C5B1-08A5-D415BC04E5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4" r="16908" b="16859"/>
          <a:stretch/>
        </p:blipFill>
        <p:spPr bwMode="gray">
          <a:xfrm>
            <a:off x="5344159" y="0"/>
            <a:ext cx="684784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85A6E6-153E-4CE5-FB4B-B91DEEEFD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8" y="1930400"/>
            <a:ext cx="5472000" cy="1008000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0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4634D-08B3-A238-2B8A-EDF379D1430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88" y="3168000"/>
            <a:ext cx="9879012" cy="720000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lang="en-US" sz="1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6AA54D12-13C9-2B7D-B5C8-462219639B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07988" y="3919538"/>
            <a:ext cx="9879012" cy="2533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73883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elightfu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D506629-4E46-D20E-C727-50ECE2618E8B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B4BC963D-6412-4CF0-0F13-544B9E12B87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4" r="16908" b="16859"/>
          <a:stretch/>
        </p:blipFill>
        <p:spPr bwMode="gray">
          <a:xfrm>
            <a:off x="5344159" y="0"/>
            <a:ext cx="684784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85A6E6-153E-4CE5-FB4B-B91DEEEFD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8" y="1930400"/>
            <a:ext cx="5472000" cy="1008000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0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4634D-08B3-A238-2B8A-EDF379D1430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88" y="3168000"/>
            <a:ext cx="9879012" cy="720000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75464680-0DEF-B9DF-D458-CA5A717518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07988" y="3919538"/>
            <a:ext cx="9879012" cy="2533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52486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ynamic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D506629-4E46-D20E-C727-50ECE2618E8B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4CF5148B-820E-0D45-4D77-AEB5F06063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4" r="16908" b="16859"/>
          <a:stretch/>
        </p:blipFill>
        <p:spPr bwMode="gray">
          <a:xfrm>
            <a:off x="5344159" y="0"/>
            <a:ext cx="684784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85A6E6-153E-4CE5-FB4B-B91DEEEFD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8" y="1930400"/>
            <a:ext cx="5472000" cy="1008000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0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4634D-08B3-A238-2B8A-EDF379D1430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88" y="3168000"/>
            <a:ext cx="9879012" cy="720000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lang="en-US" sz="1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A8333A67-E105-461F-F66E-91BC4D483A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07988" y="3919538"/>
            <a:ext cx="9879012" cy="2533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5384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08D5F-6342-CCAE-C184-DF50B599147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3E765F-726D-880D-35B7-E300B5887B4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A3CC8E0-B0F2-494B-9405-09E58FC5AE4B}" type="datetime1">
              <a:rPr lang="en-US" smtClean="0"/>
              <a:t>10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CD0E3D-2F4B-D1B0-3E6D-22B5862329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TT DATA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CD470F-5294-7493-CC6F-2E263E96E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37079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mart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4755A00-D7B1-A7BE-5515-C66D314112D0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962756-7F61-DD56-70EF-1BC62353E59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87D3EA-1C29-E130-6E56-7E90E6CADD1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1E58D4-12C5-464E-AF29-DD80E8944A29}" type="datetime1">
              <a:rPr lang="en-US" smtClean="0"/>
              <a:t>10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19C1BF-1EC5-A313-1823-F85B93370C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TT DATA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51B2B6-5FF7-D4FC-5982-94DB32E70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2D74FAD-8AC4-9945-F79B-919F1102E4B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372615" y="6617523"/>
            <a:ext cx="842400" cy="137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3138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hangebl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9447CB1-7F3B-4D2E-DB9B-AB49797F1D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17272B-B864-D450-1C24-ED25197B686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07988" y="1412875"/>
            <a:ext cx="5400000" cy="3240000"/>
          </a:xfrm>
        </p:spPr>
        <p:txBody>
          <a:bodyPr anchor="b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4C4D1A-35DF-A5A0-AAD5-804374E5F4B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8" y="4806362"/>
            <a:ext cx="5400000" cy="1638782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E773BE0-1C10-C4CD-D927-1ECC410F12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89441" y="530502"/>
            <a:ext cx="2079325" cy="3384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006C9C6-E1B3-FD91-D717-B871DAC960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5373742" y="1911903"/>
            <a:ext cx="4886924" cy="79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0256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4F00C3-C50B-0CD1-4A75-8E31C95BB2B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F1391F-9D09-9850-B34A-BA50CFA052D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A8470F8-7BF8-4028-9B66-33431A77BE2F}" type="datetime1">
              <a:rPr lang="en-US" smtClean="0"/>
              <a:t>10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817286-0227-1DE8-0069-6C6858967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TT DATA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24D01A-C038-19BC-DB37-210EC1A89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CC4917B-B586-B847-6235-47EA40CC5D25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407987" y="1412875"/>
            <a:ext cx="11376025" cy="50403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69938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4F00C3-C50B-0CD1-4A75-8E31C95BB2B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F1391F-9D09-9850-B34A-BA50CFA052D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C894B02-91E1-4633-9CC1-669206C93484}" type="datetime1">
              <a:rPr lang="en-US" smtClean="0"/>
              <a:t>10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817286-0227-1DE8-0069-6C6858967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TT DATA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24D01A-C038-19BC-DB37-210EC1A89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CC4917B-B586-B847-6235-47EA40CC5D25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407987" y="1412875"/>
            <a:ext cx="5472013" cy="50403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D3F17146-A25B-4E6E-4D8D-A0821493B2AB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6312000" y="1412875"/>
            <a:ext cx="5472013" cy="50403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9916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2F829-9383-F0F7-BF93-0B44D8CD527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33A0F5-7158-99DF-F84C-CD74F7F059CC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DCBA294-1E11-466D-9353-2F84B44CB07A}" type="datetime1">
              <a:rPr lang="en-US" smtClean="0"/>
              <a:t>10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001915-19B9-56F0-33A1-8813992AF8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TT DATA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B2A670-B79D-BDA1-9BA6-4D3FA3079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64EE55-D4BB-7D53-18CF-CAAF39B9EC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7988" y="4077030"/>
            <a:ext cx="3600008" cy="23761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E65F77C-14B0-1B00-F86C-EF98488C69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95996" y="4077030"/>
            <a:ext cx="3600008" cy="23761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EC31746-78E6-D122-5FF7-87067B5E57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184004" y="4077030"/>
            <a:ext cx="3600008" cy="23761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CD73D45-6F02-8CB0-F40D-4E8F4C9DE6B8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407988" y="1412875"/>
            <a:ext cx="3600008" cy="23761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903631C9-7C61-F83D-99F4-49D6E8A76C3E}"/>
              </a:ext>
            </a:extLst>
          </p:cNvPr>
          <p:cNvSpPr>
            <a:spLocks noGrp="1"/>
          </p:cNvSpPr>
          <p:nvPr>
            <p:ph sz="quarter" idx="17"/>
          </p:nvPr>
        </p:nvSpPr>
        <p:spPr bwMode="gray">
          <a:xfrm>
            <a:off x="4295996" y="1412875"/>
            <a:ext cx="3600008" cy="23761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3B2BBC93-7BF0-8AFC-7524-BF627CF34700}"/>
              </a:ext>
            </a:extLst>
          </p:cNvPr>
          <p:cNvSpPr>
            <a:spLocks noGrp="1"/>
          </p:cNvSpPr>
          <p:nvPr>
            <p:ph sz="quarter" idx="18"/>
          </p:nvPr>
        </p:nvSpPr>
        <p:spPr bwMode="gray">
          <a:xfrm>
            <a:off x="8184004" y="1412875"/>
            <a:ext cx="3600008" cy="23761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16142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95EDEB-E668-E39D-941C-4C01566E2D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08775" y="1412875"/>
            <a:ext cx="5075238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8297001-1DE4-A69E-C57A-22ECC79F403D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6708775" y="2583542"/>
            <a:ext cx="5075238" cy="38657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362FC73-17AA-EBDC-A348-0E3DF5E67E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B802D138-5F97-E5CE-045E-3B99D7B18B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304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422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fths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95EDEB-E668-E39D-941C-4C01566E2D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896225" y="1412875"/>
            <a:ext cx="3887788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8297001-1DE4-A69E-C57A-22ECC79F403D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7896225" y="2583542"/>
            <a:ext cx="3887788" cy="38657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362FC73-17AA-EBDC-A348-0E3DF5E67E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-1" y="0"/>
            <a:ext cx="7319963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E761901-AE9B-4068-C0A0-5DADC0BADD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209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1" userDrawn="1">
          <p15:clr>
            <a:srgbClr val="FBAE40"/>
          </p15:clr>
        </p15:guide>
        <p15:guide id="2" pos="497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362FC73-17AA-EBDC-A348-0E3DF5E67E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95EDEB-E668-E39D-941C-4C01566E2D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8" y="2035175"/>
            <a:ext cx="5040312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BF2508-E749-5E1C-240B-095AF2BC6A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07988" y="2895600"/>
            <a:ext cx="504031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22DF092E-36AA-F185-4EC1-E127EAF442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89441" y="530502"/>
            <a:ext cx="2079325" cy="3384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96815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424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78EEF9-0046-BF38-2A7C-558EBC5DC9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A3C756D4-F95D-CBD4-D73A-58F19D1C7D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89441" y="530502"/>
            <a:ext cx="2079325" cy="3384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4799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rrow 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362FC73-17AA-EBDC-A348-0E3DF5E67E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4158000"/>
            <a:ext cx="12192000" cy="27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BF2508-E749-5E1C-240B-095AF2BC6A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07988" y="1412874"/>
            <a:ext cx="11376024" cy="2320925"/>
          </a:xfrm>
        </p:spPr>
        <p:txBody>
          <a:bodyPr numCol="2" spcCol="432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F0C626C-A79B-8BA5-7DAD-83B9D53AD57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4183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rrow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362FC73-17AA-EBDC-A348-0E3DF5E67E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4158000"/>
            <a:ext cx="12192000" cy="27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F0C626C-A79B-8BA5-7DAD-83B9D53AD57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81536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4354E-9428-464E-4920-EE9FAF52318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1412874"/>
            <a:ext cx="3313113" cy="7207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0D668EA-08DE-A94D-49B6-3EC369BB5B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4064001" y="0"/>
            <a:ext cx="4064000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0C0B913-945F-985A-228A-B53EF32851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7988" y="2324100"/>
            <a:ext cx="3311525" cy="4129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BF2C733-3322-BF27-919E-2C944D82A47C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61F66AFA-BDC3-4492-9133-C8ECD7D47DAA}" type="datetime1">
              <a:rPr lang="en-US" smtClean="0"/>
              <a:t>10/28/2025</a:t>
            </a:fld>
            <a:endParaRPr lang="en-US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9009BE63-26BA-4B3A-A523-379EA14F8F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466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43" userDrawn="1">
          <p15:clr>
            <a:srgbClr val="FBAE40"/>
          </p15:clr>
        </p15:guide>
        <p15:guide id="2" pos="533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S Smart Navy with Outline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80B08F8-4CDB-F604-BF19-34D207BB1043}"/>
              </a:ext>
            </a:extLst>
          </p:cNvPr>
          <p:cNvSpPr/>
          <p:nvPr/>
        </p:nvSpPr>
        <p:spPr bwMode="gray">
          <a:xfrm>
            <a:off x="0" y="0"/>
            <a:ext cx="12192000" cy="27082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17272B-B864-D450-1C24-ED25197B686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07987" y="3492000"/>
            <a:ext cx="9072000" cy="1728000"/>
          </a:xfrm>
        </p:spPr>
        <p:txBody>
          <a:bodyPr anchor="t"/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4C4D1A-35DF-A5A0-AAD5-804374E5F4B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7" y="5580000"/>
            <a:ext cx="9072000" cy="873188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Imagen 8" descr="Imagen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63FC3FAE-F02A-8228-177D-509F529E76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9484801" y="0"/>
            <a:ext cx="2707199" cy="27072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EFC14E1-100C-EDB5-AD68-415AFF0446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7" y="2997200"/>
            <a:ext cx="9072000" cy="34131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  <a:lvl2pPr marL="0" indent="0">
              <a:buNone/>
              <a:defRPr sz="2000" b="1"/>
            </a:lvl2pPr>
          </a:lstStyle>
          <a:p>
            <a:pPr lvl="0"/>
            <a:r>
              <a:rPr lang="en-US"/>
              <a:t>Client Nam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A129EBA-BE64-A449-6AE0-1DA589932E5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10276747" y="3000693"/>
            <a:ext cx="1522800" cy="24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990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88" userDrawn="1">
          <p15:clr>
            <a:srgbClr val="FBAE40"/>
          </p15:clr>
        </p15:guide>
        <p15:guide id="3" orient="horz" pos="170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84AB8-6638-E2E0-CD58-E7D36DB3097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31E9B31-3845-4712-BD64-59080F7FEBDA}" type="datetime1">
              <a:rPr lang="en-US" smtClean="0"/>
              <a:t>10/28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0F2A61-A9D7-C574-16BA-992F85159D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TT DATA 2022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0D1C2FE-F2AC-EA52-818E-CAD8289E0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4201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6B92E56-DE9D-F4F3-5573-47D19A0E8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D9B9F3-5366-F37D-C54C-BCEC77F30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7" y="1412874"/>
            <a:ext cx="4887913" cy="2407285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Thanks.</a:t>
            </a:r>
          </a:p>
        </p:txBody>
      </p:sp>
      <p:pic>
        <p:nvPicPr>
          <p:cNvPr id="10" name="Picture 14">
            <a:extLst>
              <a:ext uri="{FF2B5EF4-FFF2-40B4-BE49-F238E27FC236}">
                <a16:creationId xmlns:a16="http://schemas.microsoft.com/office/drawing/2014/main" id="{C210D41F-80B1-B21D-0FD6-64960C024CE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gray">
          <a:xfrm>
            <a:off x="7070724" y="1736724"/>
            <a:ext cx="5121276" cy="512127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802EBC-FA49-44E5-8285-3127C78A9E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07987" y="4022725"/>
            <a:ext cx="4887913" cy="2430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A596C0D-DF16-20AF-32C6-7657A641D87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9489440" y="530502"/>
            <a:ext cx="2079325" cy="3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4189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blipFill>
            <a:blip r:embed="rId3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19648321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56769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en-US"/>
              <a:t>© 2023 NTT DATA, Inc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0689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30323057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1228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Dibujo de un edificio&#10;&#10;Descripción generada automáticamente con confianza media">
            <a:extLst>
              <a:ext uri="{FF2B5EF4-FFF2-40B4-BE49-F238E27FC236}">
                <a16:creationId xmlns:a16="http://schemas.microsoft.com/office/drawing/2014/main" id="{A2F2BFC3-E54A-4B40-EF23-33EED3620D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367F8ABB-A725-FB78-68A6-931B20F8E88E}"/>
              </a:ext>
            </a:extLst>
          </p:cNvPr>
          <p:cNvSpPr txBox="1"/>
          <p:nvPr userDrawn="1"/>
        </p:nvSpPr>
        <p:spPr>
          <a:xfrm>
            <a:off x="644318" y="6554180"/>
            <a:ext cx="4552102" cy="889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2023 NTT DATA</a:t>
            </a:r>
          </a:p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>
              <a:solidFill>
                <a:srgbClr val="000000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D12CD19-0A49-B31A-6CAE-5FD307691D1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64045" y="6563358"/>
            <a:ext cx="304800" cy="88901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78CF331-F007-8B12-033D-E7A50375AF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" y="0"/>
            <a:ext cx="12192005" cy="6858000"/>
          </a:xfrm>
          <a:prstGeom prst="rect">
            <a:avLst/>
          </a:prstGeom>
        </p:spPr>
      </p:pic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492D3717-7983-65C3-29EA-6A2F3890DED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2012" y="6632547"/>
            <a:ext cx="252000" cy="10731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indent="0" algn="r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0" name="Graphic 7">
            <a:extLst>
              <a:ext uri="{FF2B5EF4-FFF2-40B4-BE49-F238E27FC236}">
                <a16:creationId xmlns:a16="http://schemas.microsoft.com/office/drawing/2014/main" id="{AF9761CE-EB64-0BF3-53FE-8B40EAF3BC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1305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109345-2AC7-F0EA-F5D0-8B318319F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4"/>
            <a:ext cx="11376025" cy="720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3965DCC-85D8-CEE1-BC78-E2EFCAE768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5" name="Imagen 4" descr="Imagen que contiene biombo, edificio, con baldosas, ventana&#10;&#10;Descripción generada automáticamente">
            <a:extLst>
              <a:ext uri="{FF2B5EF4-FFF2-40B4-BE49-F238E27FC236}">
                <a16:creationId xmlns:a16="http://schemas.microsoft.com/office/drawing/2014/main" id="{EB66A7C8-3868-B627-A177-000266AC46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DB3E339C-1127-3138-6504-99BBC7EEB3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6" y="-3"/>
            <a:ext cx="12192001" cy="685800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B281EB25-A9D3-D589-0B3D-BC28DD90D618}"/>
              </a:ext>
            </a:extLst>
          </p:cNvPr>
          <p:cNvSpPr txBox="1"/>
          <p:nvPr userDrawn="1"/>
        </p:nvSpPr>
        <p:spPr>
          <a:xfrm>
            <a:off x="12722087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A66D986E-B831-398C-8BD3-C910639E753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2012" y="6632547"/>
            <a:ext cx="252000" cy="10731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indent="0" algn="r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5CA86E5A-56DF-4900-1EDE-220C38E51C9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629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722F761A-B817-8D12-4543-F97F8B895ACA}"/>
              </a:ext>
            </a:extLst>
          </p:cNvPr>
          <p:cNvSpPr txBox="1"/>
          <p:nvPr userDrawn="1"/>
        </p:nvSpPr>
        <p:spPr>
          <a:xfrm>
            <a:off x="644318" y="6554180"/>
            <a:ext cx="4552102" cy="889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2023 NTT DATA</a:t>
            </a:r>
          </a:p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B1328A7F-EAFD-35AC-4B64-305C7DFA2523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862792" y="340055"/>
            <a:ext cx="995835" cy="147477"/>
          </a:xfrm>
          <a:custGeom>
            <a:avLst/>
            <a:gdLst>
              <a:gd name="connsiteX0" fmla="*/ 0 w 3190875"/>
              <a:gd name="connsiteY0" fmla="*/ 0 h 1514475"/>
              <a:gd name="connsiteX1" fmla="*/ 3190875 w 3190875"/>
              <a:gd name="connsiteY1" fmla="*/ 0 h 1514475"/>
              <a:gd name="connsiteX2" fmla="*/ 3190875 w 3190875"/>
              <a:gd name="connsiteY2" fmla="*/ 1514475 h 1514475"/>
              <a:gd name="connsiteX3" fmla="*/ 0 w 3190875"/>
              <a:gd name="connsiteY3" fmla="*/ 1514475 h 151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90875" h="1514475">
                <a:moveTo>
                  <a:pt x="0" y="0"/>
                </a:moveTo>
                <a:lnTo>
                  <a:pt x="3190875" y="0"/>
                </a:lnTo>
                <a:lnTo>
                  <a:pt x="3190875" y="1514475"/>
                </a:lnTo>
                <a:lnTo>
                  <a:pt x="0" y="1514475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.c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CB48E36A-02B6-E4AE-BF79-51E0A2F6982F}"/>
              </a:ext>
            </a:extLst>
          </p:cNvPr>
          <p:cNvSpPr txBox="1"/>
          <p:nvPr userDrawn="1"/>
        </p:nvSpPr>
        <p:spPr>
          <a:xfrm>
            <a:off x="12722087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3CC8801C-7164-77B6-2FFA-1130FBA3C924}"/>
              </a:ext>
            </a:extLst>
          </p:cNvPr>
          <p:cNvSpPr txBox="1"/>
          <p:nvPr userDrawn="1"/>
        </p:nvSpPr>
        <p:spPr>
          <a:xfrm>
            <a:off x="12728953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0715C561-1AEB-46E4-A510-5698F40C669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2012" y="6632547"/>
            <a:ext cx="252000" cy="10731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indent="0" algn="r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698FAAB6-0F06-E34F-06B7-696C2D476A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  <p:pic>
        <p:nvPicPr>
          <p:cNvPr id="2" name="Imagen 1" descr="Imagen en blanco y negro de un mapa&#10;&#10;Descripción generada automáticamente con confianza media">
            <a:extLst>
              <a:ext uri="{FF2B5EF4-FFF2-40B4-BE49-F238E27FC236}">
                <a16:creationId xmlns:a16="http://schemas.microsoft.com/office/drawing/2014/main" id="{E89FD6C1-F3BC-703D-4F87-5DCE305DBA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9939"/>
            <a:ext cx="4068933" cy="6848061"/>
          </a:xfrm>
          <a:prstGeom prst="rect">
            <a:avLst/>
          </a:prstGeom>
        </p:spPr>
      </p:pic>
      <p:pic>
        <p:nvPicPr>
          <p:cNvPr id="3" name="Imagen 2" descr="Imagen en blanco y negro de un mapa&#10;&#10;Descripción generada automáticamente con confianza media">
            <a:extLst>
              <a:ext uri="{FF2B5EF4-FFF2-40B4-BE49-F238E27FC236}">
                <a16:creationId xmlns:a16="http://schemas.microsoft.com/office/drawing/2014/main" id="{47C2AD34-A1C1-F5F9-B386-1CB6A578E5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8931" y="-9875"/>
            <a:ext cx="4596697" cy="6888425"/>
          </a:xfrm>
          <a:prstGeom prst="rect">
            <a:avLst/>
          </a:prstGeom>
        </p:spPr>
      </p:pic>
      <p:pic>
        <p:nvPicPr>
          <p:cNvPr id="5" name="Imagen 4" descr="Imagen en blanco y negro de un mapa&#10;&#10;Descripción generada automáticamente con confianza media">
            <a:extLst>
              <a:ext uri="{FF2B5EF4-FFF2-40B4-BE49-F238E27FC236}">
                <a16:creationId xmlns:a16="http://schemas.microsoft.com/office/drawing/2014/main" id="{0C9E2EF4-E7BE-BB5A-AB18-A8583D1CF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3105" y="9939"/>
            <a:ext cx="3873968" cy="6858000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6B4D2BA8-1AE6-8605-0F6B-83D8485E60FB}"/>
              </a:ext>
            </a:extLst>
          </p:cNvPr>
          <p:cNvSpPr/>
          <p:nvPr userDrawn="1"/>
        </p:nvSpPr>
        <p:spPr>
          <a:xfrm>
            <a:off x="0" y="-1"/>
            <a:ext cx="12192000" cy="6888425"/>
          </a:xfrm>
          <a:prstGeom prst="rect">
            <a:avLst/>
          </a:prstGeom>
          <a:solidFill>
            <a:srgbClr val="21274A">
              <a:alpha val="6908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38">
            <a:extLst>
              <a:ext uri="{FF2B5EF4-FFF2-40B4-BE49-F238E27FC236}">
                <a16:creationId xmlns:a16="http://schemas.microsoft.com/office/drawing/2014/main" id="{E6EE4D59-E7F0-E84B-541A-B13E018A9E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844" y="1490459"/>
            <a:ext cx="2516081" cy="1140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4">
            <a:extLst>
              <a:ext uri="{FF2B5EF4-FFF2-40B4-BE49-F238E27FC236}">
                <a16:creationId xmlns:a16="http://schemas.microsoft.com/office/drawing/2014/main" id="{BE530A13-CFC4-70D4-3348-E3CA5EC119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29916" y="1494938"/>
            <a:ext cx="2542954" cy="1134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6">
            <a:extLst>
              <a:ext uri="{FF2B5EF4-FFF2-40B4-BE49-F238E27FC236}">
                <a16:creationId xmlns:a16="http://schemas.microsoft.com/office/drawing/2014/main" id="{2207B609-F932-DA8B-346C-334DDFAE9F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0232" y="1490458"/>
            <a:ext cx="2542953" cy="1140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A965282C-C81D-8711-AE8C-6616280B7507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 rot="5400000">
            <a:off x="3973020" y="-1315632"/>
            <a:ext cx="4227107" cy="12181001"/>
          </a:xfrm>
          <a:prstGeom prst="rect">
            <a:avLst/>
          </a:prstGeom>
        </p:spPr>
      </p:pic>
      <p:sp>
        <p:nvSpPr>
          <p:cNvPr id="17" name="Título 1">
            <a:extLst>
              <a:ext uri="{FF2B5EF4-FFF2-40B4-BE49-F238E27FC236}">
                <a16:creationId xmlns:a16="http://schemas.microsoft.com/office/drawing/2014/main" id="{8DAD7202-0CAD-C136-7F5D-A458BD1E8F23}"/>
              </a:ext>
            </a:extLst>
          </p:cNvPr>
          <p:cNvSpPr txBox="1">
            <a:spLocks/>
          </p:cNvSpPr>
          <p:nvPr userDrawn="1"/>
        </p:nvSpPr>
        <p:spPr>
          <a:xfrm>
            <a:off x="349506" y="3015204"/>
            <a:ext cx="10233629" cy="113402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cap="none">
              <a:solidFill>
                <a:schemeClr val="bg1"/>
              </a:solidFill>
            </a:endParaRPr>
          </a:p>
        </p:txBody>
      </p:sp>
      <p:pic>
        <p:nvPicPr>
          <p:cNvPr id="18" name="Picture 46">
            <a:extLst>
              <a:ext uri="{FF2B5EF4-FFF2-40B4-BE49-F238E27FC236}">
                <a16:creationId xmlns:a16="http://schemas.microsoft.com/office/drawing/2014/main" id="{DE495A0F-5812-A804-48DB-EBA20A0FFF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9790" y="4037786"/>
            <a:ext cx="1723665" cy="784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0">
            <a:extLst>
              <a:ext uri="{FF2B5EF4-FFF2-40B4-BE49-F238E27FC236}">
                <a16:creationId xmlns:a16="http://schemas.microsoft.com/office/drawing/2014/main" id="{1B92FB20-C6C7-0C80-4079-0D68AC6626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6120" y="3842081"/>
            <a:ext cx="1671268" cy="769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1">
            <a:extLst>
              <a:ext uri="{FF2B5EF4-FFF2-40B4-BE49-F238E27FC236}">
                <a16:creationId xmlns:a16="http://schemas.microsoft.com/office/drawing/2014/main" id="{E622043B-9C89-5237-2404-34F2A80A40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6003" y="3842081"/>
            <a:ext cx="1703168" cy="787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2">
            <a:extLst>
              <a:ext uri="{FF2B5EF4-FFF2-40B4-BE49-F238E27FC236}">
                <a16:creationId xmlns:a16="http://schemas.microsoft.com/office/drawing/2014/main" id="{EE446A66-D17F-5274-9E7A-BBF56AF10B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6120" y="4739367"/>
            <a:ext cx="1663852" cy="769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3">
            <a:extLst>
              <a:ext uri="{FF2B5EF4-FFF2-40B4-BE49-F238E27FC236}">
                <a16:creationId xmlns:a16="http://schemas.microsoft.com/office/drawing/2014/main" id="{38554CEA-EC90-46C2-268E-809CAA20EF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6003" y="4739367"/>
            <a:ext cx="1703168" cy="787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4">
            <a:extLst>
              <a:ext uri="{FF2B5EF4-FFF2-40B4-BE49-F238E27FC236}">
                <a16:creationId xmlns:a16="http://schemas.microsoft.com/office/drawing/2014/main" id="{F30597EF-EACB-3CDF-134C-49EDD0F40C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50254" y="5690048"/>
            <a:ext cx="1767333" cy="809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8">
            <a:extLst>
              <a:ext uri="{FF2B5EF4-FFF2-40B4-BE49-F238E27FC236}">
                <a16:creationId xmlns:a16="http://schemas.microsoft.com/office/drawing/2014/main" id="{CA4B75CB-0554-BFD6-98E8-37DCEA9897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8482" y="3842081"/>
            <a:ext cx="1723666" cy="786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9">
            <a:extLst>
              <a:ext uri="{FF2B5EF4-FFF2-40B4-BE49-F238E27FC236}">
                <a16:creationId xmlns:a16="http://schemas.microsoft.com/office/drawing/2014/main" id="{1E2CCB7F-FA68-90ED-B895-D69A58B454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14837" y="3842081"/>
            <a:ext cx="1723665" cy="794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0">
            <a:extLst>
              <a:ext uri="{FF2B5EF4-FFF2-40B4-BE49-F238E27FC236}">
                <a16:creationId xmlns:a16="http://schemas.microsoft.com/office/drawing/2014/main" id="{BD16013E-F8B0-6A87-F8F0-0DED7087E0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379" y="4739367"/>
            <a:ext cx="1723666" cy="786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1">
            <a:extLst>
              <a:ext uri="{FF2B5EF4-FFF2-40B4-BE49-F238E27FC236}">
                <a16:creationId xmlns:a16="http://schemas.microsoft.com/office/drawing/2014/main" id="{591F6283-B097-1804-BFB8-67635735AB4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33316" y="4739367"/>
            <a:ext cx="1723666" cy="786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52">
            <a:extLst>
              <a:ext uri="{FF2B5EF4-FFF2-40B4-BE49-F238E27FC236}">
                <a16:creationId xmlns:a16="http://schemas.microsoft.com/office/drawing/2014/main" id="{B300363B-2FEE-6F4D-11CC-853BB4EB48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0638" y="5627804"/>
            <a:ext cx="1770752" cy="809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53">
            <a:extLst>
              <a:ext uri="{FF2B5EF4-FFF2-40B4-BE49-F238E27FC236}">
                <a16:creationId xmlns:a16="http://schemas.microsoft.com/office/drawing/2014/main" id="{698A91BF-5D86-B1F6-D25C-51177042573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1768" y="5627804"/>
            <a:ext cx="1746252" cy="7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Graphic 7">
            <a:extLst>
              <a:ext uri="{FF2B5EF4-FFF2-40B4-BE49-F238E27FC236}">
                <a16:creationId xmlns:a16="http://schemas.microsoft.com/office/drawing/2014/main" id="{C5A3B016-95AE-253E-C20E-50BEB10E9B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2262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S Human Blue with Outline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80B08F8-4CDB-F604-BF19-34D207BB1043}"/>
              </a:ext>
            </a:extLst>
          </p:cNvPr>
          <p:cNvSpPr/>
          <p:nvPr/>
        </p:nvSpPr>
        <p:spPr bwMode="gray">
          <a:xfrm>
            <a:off x="0" y="0"/>
            <a:ext cx="12192000" cy="2708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17272B-B864-D450-1C24-ED25197B686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07987" y="3492000"/>
            <a:ext cx="9072000" cy="1728000"/>
          </a:xfrm>
        </p:spPr>
        <p:txBody>
          <a:bodyPr anchor="t"/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4C4D1A-35DF-A5A0-AAD5-804374E5F4B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7" y="5580000"/>
            <a:ext cx="9072000" cy="873188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Imagen 8" descr="Imagen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63FC3FAE-F02A-8228-177D-509F529E76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9484801" y="0"/>
            <a:ext cx="2707199" cy="27072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EFC14E1-100C-EDB5-AD68-415AFF0446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7" y="2997200"/>
            <a:ext cx="9072000" cy="34131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  <a:lvl2pPr marL="0" indent="0">
              <a:buNone/>
              <a:defRPr sz="2000" b="1"/>
            </a:lvl2pPr>
          </a:lstStyle>
          <a:p>
            <a:pPr lvl="0"/>
            <a:r>
              <a:rPr lang="en-US"/>
              <a:t>Client Nam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BB09D0C-F49A-D5CC-785E-F21AE9784F4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10276747" y="3000693"/>
            <a:ext cx="1522800" cy="24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8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88" userDrawn="1">
          <p15:clr>
            <a:srgbClr val="FBAE40"/>
          </p15:clr>
        </p15:guide>
        <p15:guide id="3" orient="horz" pos="1706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586901F9-E398-6679-BC59-FE562AE697B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70F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s-ES" sz="2000" err="1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1908F70-A833-9BA4-B22E-CDF9CA5A85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7" name="Graphic 7">
            <a:extLst>
              <a:ext uri="{FF2B5EF4-FFF2-40B4-BE49-F238E27FC236}">
                <a16:creationId xmlns:a16="http://schemas.microsoft.com/office/drawing/2014/main" id="{7978E043-3935-6803-D72B-8ED271E98B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3657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agua, pasto, pequeño, barco&#10;&#10;Descripción generada automáticamente">
            <a:extLst>
              <a:ext uri="{FF2B5EF4-FFF2-40B4-BE49-F238E27FC236}">
                <a16:creationId xmlns:a16="http://schemas.microsoft.com/office/drawing/2014/main" id="{EDE5F979-0DBB-D27B-C572-EBDFEB01B0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6454C0A5-7C80-2AF0-21F5-910BCEC9574E}"/>
              </a:ext>
            </a:extLst>
          </p:cNvPr>
          <p:cNvSpPr/>
          <p:nvPr userDrawn="1"/>
        </p:nvSpPr>
        <p:spPr>
          <a:xfrm>
            <a:off x="0" y="13120"/>
            <a:ext cx="12192000" cy="6823922"/>
          </a:xfrm>
          <a:prstGeom prst="rect">
            <a:avLst/>
          </a:prstGeom>
          <a:solidFill>
            <a:srgbClr val="0E1F4D">
              <a:alpha val="2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s-ES" err="1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0D1C2FE-F2AC-EA52-818E-CAD8289E0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" name="Graphic 7">
            <a:extLst>
              <a:ext uri="{FF2B5EF4-FFF2-40B4-BE49-F238E27FC236}">
                <a16:creationId xmlns:a16="http://schemas.microsoft.com/office/drawing/2014/main" id="{2255D8A2-72A5-BEDF-88A6-F5E777E569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8802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n 25" descr="Vista de la tierra desde el espacio&#10;&#10;Descripción generada automáticamente con confianza media">
            <a:extLst>
              <a:ext uri="{FF2B5EF4-FFF2-40B4-BE49-F238E27FC236}">
                <a16:creationId xmlns:a16="http://schemas.microsoft.com/office/drawing/2014/main" id="{43C8ED8D-F712-3C02-C733-632277B8C9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4397"/>
            <a:ext cx="12186994" cy="686367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3BD243D-4C13-32C9-C233-580C17BC97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39"/>
          <a:stretch/>
        </p:blipFill>
        <p:spPr>
          <a:xfrm rot="10800000" flipH="1">
            <a:off x="5647891" y="8721"/>
            <a:ext cx="6544109" cy="6865837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0D1C2FE-F2AC-EA52-818E-CAD8289E0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EC6E31E7-E3EC-F1C9-4447-8A2269B1C5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068" y="4130789"/>
            <a:ext cx="4714989" cy="1419722"/>
          </a:xfrm>
          <a:prstGeom prst="rect">
            <a:avLst/>
          </a:prstGeom>
        </p:spPr>
        <p:txBody>
          <a:bodyPr/>
          <a:lstStyle>
            <a:lvl1pPr>
              <a:defRPr lang="es-ES" sz="8000" b="1" kern="1200" cap="none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 marL="216000" indent="0">
              <a:lnSpc>
                <a:spcPts val="1200"/>
              </a:lnSpc>
              <a:buNone/>
              <a:defRPr lang="es-ES" sz="8000" b="0" kern="1200" cap="none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</a:lstStyle>
          <a:p>
            <a:pPr lvl="0"/>
            <a:r>
              <a:rPr lang="es-ES"/>
              <a:t>Título/</a:t>
            </a:r>
          </a:p>
          <a:p>
            <a:pPr lvl="2"/>
            <a:r>
              <a:rPr lang="es-ES"/>
              <a:t> </a:t>
            </a: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FE553211-F158-DE1C-B205-7F656C29CD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068" y="5469529"/>
            <a:ext cx="4714989" cy="60337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Subtítulo</a:t>
            </a:r>
          </a:p>
        </p:txBody>
      </p:sp>
      <p:pic>
        <p:nvPicPr>
          <p:cNvPr id="25" name="Picture 14">
            <a:extLst>
              <a:ext uri="{FF2B5EF4-FFF2-40B4-BE49-F238E27FC236}">
                <a16:creationId xmlns:a16="http://schemas.microsoft.com/office/drawing/2014/main" id="{C235903E-63C3-28FE-3082-FE27668E279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gray">
          <a:xfrm>
            <a:off x="7055670" y="1736724"/>
            <a:ext cx="5121276" cy="5121276"/>
          </a:xfrm>
          <a:prstGeom prst="rect">
            <a:avLst/>
          </a:prstGeom>
        </p:spPr>
      </p:pic>
      <p:pic>
        <p:nvPicPr>
          <p:cNvPr id="3" name="Graphic 7">
            <a:extLst>
              <a:ext uri="{FF2B5EF4-FFF2-40B4-BE49-F238E27FC236}">
                <a16:creationId xmlns:a16="http://schemas.microsoft.com/office/drawing/2014/main" id="{C04B44D2-B4EE-0EB8-DC87-20E7232A10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7311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ersonas sentadas en una mesa&#10;&#10;Descripción generada automáticamente">
            <a:extLst>
              <a:ext uri="{FF2B5EF4-FFF2-40B4-BE49-F238E27FC236}">
                <a16:creationId xmlns:a16="http://schemas.microsoft.com/office/drawing/2014/main" id="{80EC86F5-0241-DE48-1EE3-4CF814A7BC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067" t="16019" b="2871"/>
          <a:stretch/>
        </p:blipFill>
        <p:spPr>
          <a:xfrm>
            <a:off x="-18079" y="0"/>
            <a:ext cx="12223143" cy="685800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3BD243D-4C13-32C9-C233-580C17BC97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39"/>
          <a:stretch/>
        </p:blipFill>
        <p:spPr>
          <a:xfrm rot="10800000" flipH="1">
            <a:off x="9963150" y="-10889"/>
            <a:ext cx="2241914" cy="6868888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B28DC542-E65F-4916-1F0E-5BBDD2A24D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39"/>
          <a:stretch/>
        </p:blipFill>
        <p:spPr>
          <a:xfrm rot="5400000">
            <a:off x="2600762" y="-2688852"/>
            <a:ext cx="6878950" cy="12223143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0D1C2FE-F2AC-EA52-818E-CAD8289E0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EC6E31E7-E3EC-F1C9-4447-8A2269B1C5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068" y="4130789"/>
            <a:ext cx="4714989" cy="1419722"/>
          </a:xfrm>
          <a:prstGeom prst="rect">
            <a:avLst/>
          </a:prstGeom>
        </p:spPr>
        <p:txBody>
          <a:bodyPr/>
          <a:lstStyle>
            <a:lvl1pPr>
              <a:defRPr lang="es-ES" sz="8000" b="1" kern="1200" cap="none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 marL="216000" indent="0">
              <a:lnSpc>
                <a:spcPts val="1200"/>
              </a:lnSpc>
              <a:buNone/>
              <a:defRPr lang="es-ES" sz="8000" b="0" kern="1200" cap="none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</a:lstStyle>
          <a:p>
            <a:pPr lvl="0"/>
            <a:r>
              <a:rPr lang="es-ES"/>
              <a:t>Título/</a:t>
            </a:r>
          </a:p>
          <a:p>
            <a:pPr lvl="2"/>
            <a:r>
              <a:rPr lang="es-ES"/>
              <a:t> </a:t>
            </a: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FE553211-F158-DE1C-B205-7F656C29CD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068" y="5469529"/>
            <a:ext cx="4714989" cy="60337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Subtítulo</a:t>
            </a:r>
          </a:p>
        </p:txBody>
      </p:sp>
      <p:pic>
        <p:nvPicPr>
          <p:cNvPr id="23" name="Graphic 7">
            <a:extLst>
              <a:ext uri="{FF2B5EF4-FFF2-40B4-BE49-F238E27FC236}">
                <a16:creationId xmlns:a16="http://schemas.microsoft.com/office/drawing/2014/main" id="{CAF5AF25-E6F2-3416-8EC7-816B3B04B5E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  <p:pic>
        <p:nvPicPr>
          <p:cNvPr id="3" name="Picture 14">
            <a:extLst>
              <a:ext uri="{FF2B5EF4-FFF2-40B4-BE49-F238E27FC236}">
                <a16:creationId xmlns:a16="http://schemas.microsoft.com/office/drawing/2014/main" id="{118E9A7D-D541-A6FB-9852-93CD0BCF3E6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gray">
          <a:xfrm>
            <a:off x="7055670" y="1736724"/>
            <a:ext cx="5121276" cy="512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192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persona, interior, hombre, viendo&#10;&#10;Descripción generada automáticamente">
            <a:extLst>
              <a:ext uri="{FF2B5EF4-FFF2-40B4-BE49-F238E27FC236}">
                <a16:creationId xmlns:a16="http://schemas.microsoft.com/office/drawing/2014/main" id="{A287734D-A1A8-C33D-8A8D-C8E8D4B6CE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9" t="12356" r="5225" b="7538"/>
          <a:stretch/>
        </p:blipFill>
        <p:spPr>
          <a:xfrm flipH="1">
            <a:off x="-12892" y="0"/>
            <a:ext cx="12204892" cy="685800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0D1C2FE-F2AC-EA52-818E-CAD8289E0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EC6E31E7-E3EC-F1C9-4447-8A2269B1C5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068" y="4130789"/>
            <a:ext cx="4714989" cy="1419722"/>
          </a:xfrm>
          <a:prstGeom prst="rect">
            <a:avLst/>
          </a:prstGeom>
        </p:spPr>
        <p:txBody>
          <a:bodyPr/>
          <a:lstStyle>
            <a:lvl1pPr>
              <a:defRPr lang="es-ES" sz="8000" b="1" kern="1200" cap="none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 marL="216000" indent="0">
              <a:lnSpc>
                <a:spcPts val="1200"/>
              </a:lnSpc>
              <a:buNone/>
              <a:defRPr lang="es-ES" sz="2800" b="0" kern="1200" cap="none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</a:lstStyle>
          <a:p>
            <a:pPr lvl="0"/>
            <a:r>
              <a:rPr lang="es-ES"/>
              <a:t>Título/</a:t>
            </a:r>
          </a:p>
          <a:p>
            <a:pPr lvl="2"/>
            <a:r>
              <a:rPr lang="es-ES"/>
              <a:t> </a:t>
            </a: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FE553211-F158-DE1C-B205-7F656C29CD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068" y="5469529"/>
            <a:ext cx="4714989" cy="60337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Subtítulo</a:t>
            </a:r>
          </a:p>
        </p:txBody>
      </p:sp>
      <p:pic>
        <p:nvPicPr>
          <p:cNvPr id="2" name="Graphic 7">
            <a:extLst>
              <a:ext uri="{FF2B5EF4-FFF2-40B4-BE49-F238E27FC236}">
                <a16:creationId xmlns:a16="http://schemas.microsoft.com/office/drawing/2014/main" id="{0F6053E1-EB08-9070-8246-230809404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  <p:pic>
        <p:nvPicPr>
          <p:cNvPr id="3" name="Picture 14">
            <a:extLst>
              <a:ext uri="{FF2B5EF4-FFF2-40B4-BE49-F238E27FC236}">
                <a16:creationId xmlns:a16="http://schemas.microsoft.com/office/drawing/2014/main" id="{0D396158-4B99-0884-935E-57AD8EAD499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gray">
          <a:xfrm>
            <a:off x="7055670" y="1736724"/>
            <a:ext cx="5121276" cy="512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4119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F099388-4DB9-4A23-406C-85516AAB35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65" y="-1612"/>
            <a:ext cx="12189135" cy="6859612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991FD1DC-158E-0144-B041-B0357F249F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39"/>
          <a:stretch/>
        </p:blipFill>
        <p:spPr>
          <a:xfrm rot="10800000" flipH="1">
            <a:off x="9646548" y="-10048"/>
            <a:ext cx="2546714" cy="6868888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0D1C2FE-F2AC-EA52-818E-CAD8289E0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23" name="Graphic 7">
            <a:extLst>
              <a:ext uri="{FF2B5EF4-FFF2-40B4-BE49-F238E27FC236}">
                <a16:creationId xmlns:a16="http://schemas.microsoft.com/office/drawing/2014/main" id="{CAF5AF25-E6F2-3416-8EC7-816B3B04B5E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  <p:pic>
        <p:nvPicPr>
          <p:cNvPr id="2" name="Picture 14">
            <a:extLst>
              <a:ext uri="{FF2B5EF4-FFF2-40B4-BE49-F238E27FC236}">
                <a16:creationId xmlns:a16="http://schemas.microsoft.com/office/drawing/2014/main" id="{70A6F768-05FB-696B-407E-396ABC035E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gray">
          <a:xfrm>
            <a:off x="7055670" y="1736724"/>
            <a:ext cx="5121276" cy="512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8571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Una persona sentado frente a una mesa&#10;&#10;Descripción generada automáticamente con confianza media">
            <a:extLst>
              <a:ext uri="{FF2B5EF4-FFF2-40B4-BE49-F238E27FC236}">
                <a16:creationId xmlns:a16="http://schemas.microsoft.com/office/drawing/2014/main" id="{F2D5D2AF-36AE-BF1A-A580-27AE6B219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912" r="7914" b="15355"/>
          <a:stretch/>
        </p:blipFill>
        <p:spPr>
          <a:xfrm>
            <a:off x="-10048" y="-1"/>
            <a:ext cx="12192000" cy="6870151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B28DC542-E65F-4916-1F0E-5BBDD2A24D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39"/>
          <a:stretch/>
        </p:blipFill>
        <p:spPr>
          <a:xfrm rot="5400000">
            <a:off x="2654447" y="-2644399"/>
            <a:ext cx="6878097" cy="12166898"/>
          </a:xfrm>
          <a:prstGeom prst="rect">
            <a:avLst/>
          </a:prstGeom>
        </p:spPr>
      </p:pic>
      <p:pic>
        <p:nvPicPr>
          <p:cNvPr id="3" name="Picture 14">
            <a:extLst>
              <a:ext uri="{FF2B5EF4-FFF2-40B4-BE49-F238E27FC236}">
                <a16:creationId xmlns:a16="http://schemas.microsoft.com/office/drawing/2014/main" id="{2C101035-1F5A-9390-FCE8-15FE774C93E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gray">
          <a:xfrm>
            <a:off x="7055670" y="1736724"/>
            <a:ext cx="5121276" cy="512127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3BD243D-4C13-32C9-C233-580C17BC97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39"/>
          <a:stretch/>
        </p:blipFill>
        <p:spPr>
          <a:xfrm rot="10800000" flipH="1">
            <a:off x="9956378" y="-54844"/>
            <a:ext cx="2235622" cy="692289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0D1C2FE-F2AC-EA52-818E-CAD8289E0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EC6E31E7-E3EC-F1C9-4447-8A2269B1C5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068" y="4130789"/>
            <a:ext cx="4714989" cy="1419722"/>
          </a:xfrm>
          <a:prstGeom prst="rect">
            <a:avLst/>
          </a:prstGeom>
        </p:spPr>
        <p:txBody>
          <a:bodyPr/>
          <a:lstStyle>
            <a:lvl1pPr>
              <a:defRPr lang="es-ES" sz="9600" b="1" kern="1200" cap="none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 marL="216000" indent="0">
              <a:lnSpc>
                <a:spcPts val="1200"/>
              </a:lnSpc>
              <a:buNone/>
              <a:defRPr lang="es-ES" sz="2800" b="0" kern="1200" cap="none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</a:lstStyle>
          <a:p>
            <a:pPr lvl="0"/>
            <a:r>
              <a:rPr lang="es-ES"/>
              <a:t>Título/</a:t>
            </a:r>
          </a:p>
          <a:p>
            <a:pPr lvl="2"/>
            <a:r>
              <a:rPr lang="es-ES"/>
              <a:t> </a:t>
            </a:r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FE553211-F158-DE1C-B205-7F656C29CD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4068" y="5469529"/>
            <a:ext cx="4714989" cy="60337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Subtítulo</a:t>
            </a:r>
          </a:p>
        </p:txBody>
      </p:sp>
      <p:pic>
        <p:nvPicPr>
          <p:cNvPr id="23" name="Graphic 7">
            <a:extLst>
              <a:ext uri="{FF2B5EF4-FFF2-40B4-BE49-F238E27FC236}">
                <a16:creationId xmlns:a16="http://schemas.microsoft.com/office/drawing/2014/main" id="{CAF5AF25-E6F2-3416-8EC7-816B3B04B5E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4268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BBECA066-862A-F944-463E-AC24AA04C9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416" y="-3312"/>
            <a:ext cx="12197416" cy="6865838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4D328FDF-81E0-ABE0-DCEE-68061D1E226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-5418" y="-3313"/>
            <a:ext cx="9246953" cy="6876988"/>
          </a:xfrm>
          <a:prstGeom prst="rect">
            <a:avLst/>
          </a:prstGeom>
        </p:spPr>
      </p:pic>
      <p:sp>
        <p:nvSpPr>
          <p:cNvPr id="25" name="Marcador de texto 28">
            <a:extLst>
              <a:ext uri="{FF2B5EF4-FFF2-40B4-BE49-F238E27FC236}">
                <a16:creationId xmlns:a16="http://schemas.microsoft.com/office/drawing/2014/main" id="{892728C7-CE86-45AF-B91D-5AFC2F7DF49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909" y="371168"/>
            <a:ext cx="7518879" cy="744537"/>
          </a:xfrm>
          <a:prstGeom prst="rect">
            <a:avLst/>
          </a:prstGeom>
        </p:spPr>
        <p:txBody>
          <a:bodyPr/>
          <a:lstStyle>
            <a:lvl1pPr algn="l">
              <a:defRPr sz="24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s-ES"/>
          </a:p>
        </p:txBody>
      </p:sp>
      <p:sp>
        <p:nvSpPr>
          <p:cNvPr id="26" name="Marcador de texto 30">
            <a:extLst>
              <a:ext uri="{FF2B5EF4-FFF2-40B4-BE49-F238E27FC236}">
                <a16:creationId xmlns:a16="http://schemas.microsoft.com/office/drawing/2014/main" id="{906B8D49-4319-4AB2-982D-1BD0B51F613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313" y="1010874"/>
            <a:ext cx="7514336" cy="85562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r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r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r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r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1FF2297-C437-CF18-D0FC-53F7A194A088}"/>
              </a:ext>
            </a:extLst>
          </p:cNvPr>
          <p:cNvSpPr txBox="1"/>
          <p:nvPr userDrawn="1"/>
        </p:nvSpPr>
        <p:spPr>
          <a:xfrm>
            <a:off x="12722087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09B121A5-4882-27B0-4833-C0BD08D8A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32012" y="6632547"/>
            <a:ext cx="252000" cy="1073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0A93B93F-1F0B-2DAF-E10E-B7DC6ACF79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934516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hort Text and Half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Una persona sentado en un escritorio de madera&#10;&#10;Descripción generada automáticamente con confianza media">
            <a:extLst>
              <a:ext uri="{FF2B5EF4-FFF2-40B4-BE49-F238E27FC236}">
                <a16:creationId xmlns:a16="http://schemas.microsoft.com/office/drawing/2014/main" id="{4B3C81FE-2F04-A55F-64FB-13878FB3C4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998" y="0"/>
            <a:ext cx="3971262" cy="6858000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6522E077-C2A6-656E-85C9-D982AF066152}"/>
              </a:ext>
            </a:extLst>
          </p:cNvPr>
          <p:cNvSpPr/>
          <p:nvPr userDrawn="1"/>
        </p:nvSpPr>
        <p:spPr>
          <a:xfrm>
            <a:off x="-12997" y="-2"/>
            <a:ext cx="12187646" cy="6858000"/>
          </a:xfrm>
          <a:prstGeom prst="rect">
            <a:avLst/>
          </a:prstGeom>
          <a:solidFill>
            <a:srgbClr val="0F1C50">
              <a:alpha val="17647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s-ES" sz="2000" err="1"/>
          </a:p>
        </p:txBody>
      </p:sp>
      <p:pic>
        <p:nvPicPr>
          <p:cNvPr id="7" name="Imagen 6" descr="Una mujer sonriendo&#10;&#10;Descripción generada automáticamente">
            <a:extLst>
              <a:ext uri="{FF2B5EF4-FFF2-40B4-BE49-F238E27FC236}">
                <a16:creationId xmlns:a16="http://schemas.microsoft.com/office/drawing/2014/main" id="{9951C8E8-3332-A91A-F50B-28D693C769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1299" y="0"/>
            <a:ext cx="4198073" cy="6858000"/>
          </a:xfrm>
          <a:prstGeom prst="rect">
            <a:avLst/>
          </a:prstGeom>
        </p:spPr>
      </p:pic>
      <p:pic>
        <p:nvPicPr>
          <p:cNvPr id="9" name="Imagen 8" descr="Hombre parado enfrente de un edificio&#10;&#10;Descripción generada automáticamente">
            <a:extLst>
              <a:ext uri="{FF2B5EF4-FFF2-40B4-BE49-F238E27FC236}">
                <a16:creationId xmlns:a16="http://schemas.microsoft.com/office/drawing/2014/main" id="{8E78BB86-0885-9FFD-AF7E-50274CB40B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8497" y="-1"/>
            <a:ext cx="4338602" cy="6858001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07A37607-D19B-2D38-B8DA-3A432D56717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5400000">
            <a:off x="3428552" y="-1917552"/>
            <a:ext cx="5334000" cy="12217099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0C935333-181A-7636-AFEF-7C97AA78AD5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6200000">
            <a:off x="4805141" y="-4805150"/>
            <a:ext cx="2630853" cy="12241137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9D46A6B8-D834-116D-1C44-80658617EBD5}"/>
              </a:ext>
            </a:extLst>
          </p:cNvPr>
          <p:cNvSpPr txBox="1"/>
          <p:nvPr userDrawn="1"/>
        </p:nvSpPr>
        <p:spPr>
          <a:xfrm>
            <a:off x="12722087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343193-842D-69B1-D875-13508AE155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32012" y="6632547"/>
            <a:ext cx="252000" cy="1073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5" name="Graphic 7">
            <a:extLst>
              <a:ext uri="{FF2B5EF4-FFF2-40B4-BE49-F238E27FC236}">
                <a16:creationId xmlns:a16="http://schemas.microsoft.com/office/drawing/2014/main" id="{9F212DB0-45F3-8030-9FC2-1BFDF281D9E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29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6">
          <p15:clr>
            <a:srgbClr val="FBAE40"/>
          </p15:clr>
        </p15:guide>
        <p15:guide id="3" orient="horz" pos="73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722F761A-B817-8D12-4543-F97F8B895ACA}"/>
              </a:ext>
            </a:extLst>
          </p:cNvPr>
          <p:cNvSpPr txBox="1"/>
          <p:nvPr userDrawn="1"/>
        </p:nvSpPr>
        <p:spPr>
          <a:xfrm>
            <a:off x="644318" y="6554180"/>
            <a:ext cx="4552102" cy="889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2023 NTT DATA</a:t>
            </a:r>
          </a:p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F82A5A2-8FA2-EAFC-D3C2-FD9B77E6486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64045" y="6563358"/>
            <a:ext cx="304800" cy="889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B1328A7F-EAFD-35AC-4B64-305C7DFA2523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862792" y="340055"/>
            <a:ext cx="995835" cy="147477"/>
          </a:xfrm>
          <a:custGeom>
            <a:avLst/>
            <a:gdLst>
              <a:gd name="connsiteX0" fmla="*/ 0 w 3190875"/>
              <a:gd name="connsiteY0" fmla="*/ 0 h 1514475"/>
              <a:gd name="connsiteX1" fmla="*/ 3190875 w 3190875"/>
              <a:gd name="connsiteY1" fmla="*/ 0 h 1514475"/>
              <a:gd name="connsiteX2" fmla="*/ 3190875 w 3190875"/>
              <a:gd name="connsiteY2" fmla="*/ 1514475 h 1514475"/>
              <a:gd name="connsiteX3" fmla="*/ 0 w 3190875"/>
              <a:gd name="connsiteY3" fmla="*/ 1514475 h 151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90875" h="1514475">
                <a:moveTo>
                  <a:pt x="0" y="0"/>
                </a:moveTo>
                <a:lnTo>
                  <a:pt x="3190875" y="0"/>
                </a:lnTo>
                <a:lnTo>
                  <a:pt x="3190875" y="1514475"/>
                </a:lnTo>
                <a:lnTo>
                  <a:pt x="0" y="1514475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.c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CB48E36A-02B6-E4AE-BF79-51E0A2F6982F}"/>
              </a:ext>
            </a:extLst>
          </p:cNvPr>
          <p:cNvSpPr txBox="1"/>
          <p:nvPr userDrawn="1"/>
        </p:nvSpPr>
        <p:spPr>
          <a:xfrm>
            <a:off x="12722087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3" name="Marcador de texto 28">
            <a:extLst>
              <a:ext uri="{FF2B5EF4-FFF2-40B4-BE49-F238E27FC236}">
                <a16:creationId xmlns:a16="http://schemas.microsoft.com/office/drawing/2014/main" id="{02C8E0C5-DDC0-D57C-968E-D513419DE3E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7775" y="371168"/>
            <a:ext cx="7518879" cy="744537"/>
          </a:xfrm>
          <a:prstGeom prst="rect">
            <a:avLst/>
          </a:prstGeom>
        </p:spPr>
        <p:txBody>
          <a:bodyPr/>
          <a:lstStyle>
            <a:lvl1pPr algn="l">
              <a:defRPr sz="24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s-ES"/>
          </a:p>
        </p:txBody>
      </p:sp>
      <p:pic>
        <p:nvPicPr>
          <p:cNvPr id="5" name="Imagen 4" descr="Mujer sonriendo sentada en una silla&#10;&#10;Descripción generada automáticamente con confianza media">
            <a:extLst>
              <a:ext uri="{FF2B5EF4-FFF2-40B4-BE49-F238E27FC236}">
                <a16:creationId xmlns:a16="http://schemas.microsoft.com/office/drawing/2014/main" id="{4FE9DEC9-0692-79C2-C40D-B863E6B43C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15043" y="0"/>
            <a:ext cx="9583823" cy="6858000"/>
          </a:xfrm>
          <a:prstGeom prst="rect">
            <a:avLst/>
          </a:prstGeom>
        </p:spPr>
      </p:pic>
      <p:pic>
        <p:nvPicPr>
          <p:cNvPr id="8" name="Imagen 7" descr="Mujer sonriendo sentada en una silla&#10;&#10;Descripción generada automáticamente con confianza media">
            <a:extLst>
              <a:ext uri="{FF2B5EF4-FFF2-40B4-BE49-F238E27FC236}">
                <a16:creationId xmlns:a16="http://schemas.microsoft.com/office/drawing/2014/main" id="{99FFA222-2607-7F60-7973-487A7E02F1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7" y="0"/>
            <a:ext cx="2893672" cy="685800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332B14CC-67A9-D94A-7187-08613190094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-1" y="0"/>
            <a:ext cx="4824193" cy="6858000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3CC8801C-7164-77B6-2FFA-1130FBA3C924}"/>
              </a:ext>
            </a:extLst>
          </p:cNvPr>
          <p:cNvSpPr txBox="1"/>
          <p:nvPr userDrawn="1"/>
        </p:nvSpPr>
        <p:spPr>
          <a:xfrm>
            <a:off x="12728953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0715C561-1AEB-46E4-A510-5698F40C669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2012" y="6632547"/>
            <a:ext cx="252000" cy="10731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indent="0" algn="r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698FAAB6-0F06-E34F-06B7-696C2D476A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6457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S Landscape with Outline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2" descr="Vista de una montaña&#10;&#10;Descripción generada automáticamente">
            <a:extLst>
              <a:ext uri="{FF2B5EF4-FFF2-40B4-BE49-F238E27FC236}">
                <a16:creationId xmlns:a16="http://schemas.microsoft.com/office/drawing/2014/main" id="{560DC052-260D-FC82-AE12-7DE4A71A9C5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 bwMode="gray">
          <a:xfrm>
            <a:off x="1" y="0"/>
            <a:ext cx="12191999" cy="27195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717272B-B864-D450-1C24-ED25197B686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07987" y="3492000"/>
            <a:ext cx="9072000" cy="1728000"/>
          </a:xfrm>
        </p:spPr>
        <p:txBody>
          <a:bodyPr anchor="t"/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4C4D1A-35DF-A5A0-AAD5-804374E5F4B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7" y="5580000"/>
            <a:ext cx="9072000" cy="873188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Imagen 8" descr="Imagen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63FC3FAE-F02A-8228-177D-509F529E76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gray">
          <a:xfrm>
            <a:off x="9484801" y="0"/>
            <a:ext cx="2707199" cy="27072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EFC14E1-100C-EDB5-AD68-415AFF0446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7" y="2997200"/>
            <a:ext cx="9072000" cy="34131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  <a:lvl2pPr marL="0" indent="0">
              <a:buNone/>
              <a:defRPr sz="2000" b="1"/>
            </a:lvl2pPr>
          </a:lstStyle>
          <a:p>
            <a:pPr lvl="0"/>
            <a:r>
              <a:rPr lang="en-US"/>
              <a:t>Client Nam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7073C5E-341A-73CD-4CEA-D06FCF6EAC9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276747" y="3000693"/>
            <a:ext cx="1522800" cy="24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282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88" userDrawn="1">
          <p15:clr>
            <a:srgbClr val="FBAE40"/>
          </p15:clr>
        </p15:guide>
        <p15:guide id="3" orient="horz" pos="1706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722F761A-B817-8D12-4543-F97F8B895ACA}"/>
              </a:ext>
            </a:extLst>
          </p:cNvPr>
          <p:cNvSpPr txBox="1"/>
          <p:nvPr userDrawn="1"/>
        </p:nvSpPr>
        <p:spPr>
          <a:xfrm>
            <a:off x="644318" y="6554180"/>
            <a:ext cx="4552102" cy="889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2023 NTT DATA</a:t>
            </a:r>
          </a:p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B1328A7F-EAFD-35AC-4B64-305C7DFA2523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862792" y="340055"/>
            <a:ext cx="995835" cy="147477"/>
          </a:xfrm>
          <a:custGeom>
            <a:avLst/>
            <a:gdLst>
              <a:gd name="connsiteX0" fmla="*/ 0 w 3190875"/>
              <a:gd name="connsiteY0" fmla="*/ 0 h 1514475"/>
              <a:gd name="connsiteX1" fmla="*/ 3190875 w 3190875"/>
              <a:gd name="connsiteY1" fmla="*/ 0 h 1514475"/>
              <a:gd name="connsiteX2" fmla="*/ 3190875 w 3190875"/>
              <a:gd name="connsiteY2" fmla="*/ 1514475 h 1514475"/>
              <a:gd name="connsiteX3" fmla="*/ 0 w 3190875"/>
              <a:gd name="connsiteY3" fmla="*/ 1514475 h 151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90875" h="1514475">
                <a:moveTo>
                  <a:pt x="0" y="0"/>
                </a:moveTo>
                <a:lnTo>
                  <a:pt x="3190875" y="0"/>
                </a:lnTo>
                <a:lnTo>
                  <a:pt x="3190875" y="1514475"/>
                </a:lnTo>
                <a:lnTo>
                  <a:pt x="0" y="1514475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.c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CB48E36A-02B6-E4AE-BF79-51E0A2F6982F}"/>
              </a:ext>
            </a:extLst>
          </p:cNvPr>
          <p:cNvSpPr txBox="1"/>
          <p:nvPr userDrawn="1"/>
        </p:nvSpPr>
        <p:spPr>
          <a:xfrm>
            <a:off x="12722087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3CC8801C-7164-77B6-2FFA-1130FBA3C924}"/>
              </a:ext>
            </a:extLst>
          </p:cNvPr>
          <p:cNvSpPr txBox="1"/>
          <p:nvPr userDrawn="1"/>
        </p:nvSpPr>
        <p:spPr>
          <a:xfrm>
            <a:off x="12728953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0715C561-1AEB-46E4-A510-5698F40C669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2012" y="6632547"/>
            <a:ext cx="252000" cy="10731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indent="0" algn="r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698FAAB6-0F06-E34F-06B7-696C2D476A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5290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Un joven con un vestido verde&#10;&#10;Descripción generada automáticamente con confianza baja">
            <a:extLst>
              <a:ext uri="{FF2B5EF4-FFF2-40B4-BE49-F238E27FC236}">
                <a16:creationId xmlns:a16="http://schemas.microsoft.com/office/drawing/2014/main" id="{02C71FEE-D2ED-32A3-B076-26CB79211A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6" y="6347"/>
            <a:ext cx="12188988" cy="6851653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B0A7E090-A207-9E0F-6A4C-667AF321F46E}"/>
              </a:ext>
            </a:extLst>
          </p:cNvPr>
          <p:cNvSpPr/>
          <p:nvPr userDrawn="1"/>
        </p:nvSpPr>
        <p:spPr>
          <a:xfrm>
            <a:off x="0" y="0"/>
            <a:ext cx="12191724" cy="6858000"/>
          </a:xfrm>
          <a:prstGeom prst="rect">
            <a:avLst/>
          </a:prstGeom>
          <a:solidFill>
            <a:srgbClr val="21274A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CB48E36A-02B6-E4AE-BF79-51E0A2F6982F}"/>
              </a:ext>
            </a:extLst>
          </p:cNvPr>
          <p:cNvSpPr txBox="1"/>
          <p:nvPr userDrawn="1"/>
        </p:nvSpPr>
        <p:spPr>
          <a:xfrm>
            <a:off x="12722087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3CC8801C-7164-77B6-2FFA-1130FBA3C924}"/>
              </a:ext>
            </a:extLst>
          </p:cNvPr>
          <p:cNvSpPr txBox="1"/>
          <p:nvPr userDrawn="1"/>
        </p:nvSpPr>
        <p:spPr>
          <a:xfrm>
            <a:off x="12728953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0715C561-1AEB-46E4-A510-5698F40C669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2012" y="6632547"/>
            <a:ext cx="252000" cy="10731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indent="0" algn="r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:a16="http://schemas.microsoft.com/office/drawing/2014/main" id="{54DF622A-2BBD-3CBE-6971-25D9CE887E2E}"/>
              </a:ext>
            </a:extLst>
          </p:cNvPr>
          <p:cNvSpPr txBox="1">
            <a:spLocks/>
          </p:cNvSpPr>
          <p:nvPr userDrawn="1"/>
        </p:nvSpPr>
        <p:spPr>
          <a:xfrm>
            <a:off x="11531736" y="6656518"/>
            <a:ext cx="252000" cy="10731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2358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ersona, interior, hombre, frente&#10;&#10;Descripción generada automáticamente">
            <a:extLst>
              <a:ext uri="{FF2B5EF4-FFF2-40B4-BE49-F238E27FC236}">
                <a16:creationId xmlns:a16="http://schemas.microsoft.com/office/drawing/2014/main" id="{C9DE04D4-524B-44DD-3C41-F02512D3C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0" b="10629"/>
          <a:stretch/>
        </p:blipFill>
        <p:spPr>
          <a:xfrm>
            <a:off x="3985131" y="-15241"/>
            <a:ext cx="4309872" cy="5739095"/>
          </a:xfrm>
          <a:prstGeom prst="rect">
            <a:avLst/>
          </a:prstGeom>
        </p:spPr>
      </p:pic>
      <p:pic>
        <p:nvPicPr>
          <p:cNvPr id="4" name="Imagen 3" descr="Imagen de la pantalla de un celular en la mano&#10;&#10;Descripción generada automáticamente con confianza media">
            <a:extLst>
              <a:ext uri="{FF2B5EF4-FFF2-40B4-BE49-F238E27FC236}">
                <a16:creationId xmlns:a16="http://schemas.microsoft.com/office/drawing/2014/main" id="{6ABFDB2C-D518-EE6B-56D1-0C2D363296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48" t="661" r="12236" b="-665"/>
          <a:stretch/>
        </p:blipFill>
        <p:spPr>
          <a:xfrm>
            <a:off x="8026126" y="-25276"/>
            <a:ext cx="4165874" cy="5746410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1FCFFCC3-ADE1-72B8-FC99-CD2AECA9B55D}"/>
              </a:ext>
            </a:extLst>
          </p:cNvPr>
          <p:cNvSpPr/>
          <p:nvPr userDrawn="1"/>
        </p:nvSpPr>
        <p:spPr>
          <a:xfrm>
            <a:off x="0" y="5725332"/>
            <a:ext cx="12192000" cy="4571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A7C2A209-6DB2-442C-33BA-7D55E1B29489}"/>
              </a:ext>
            </a:extLst>
          </p:cNvPr>
          <p:cNvSpPr/>
          <p:nvPr userDrawn="1"/>
        </p:nvSpPr>
        <p:spPr>
          <a:xfrm>
            <a:off x="0" y="6362701"/>
            <a:ext cx="12192000" cy="495300"/>
          </a:xfrm>
          <a:prstGeom prst="rect">
            <a:avLst/>
          </a:prstGeom>
          <a:solidFill>
            <a:srgbClr val="728DBF"/>
          </a:solidFill>
          <a:ln>
            <a:solidFill>
              <a:srgbClr val="728D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s-ES" sz="2000" err="1"/>
          </a:p>
        </p:txBody>
      </p:sp>
      <p:pic>
        <p:nvPicPr>
          <p:cNvPr id="7" name="Imagen 6" descr="Un par de brócoli&#10;&#10;Descripción generada automáticamente con confianza media">
            <a:extLst>
              <a:ext uri="{FF2B5EF4-FFF2-40B4-BE49-F238E27FC236}">
                <a16:creationId xmlns:a16="http://schemas.microsoft.com/office/drawing/2014/main" id="{04157A39-A02E-0E95-977B-D2AADE770C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85" b="17001"/>
          <a:stretch/>
        </p:blipFill>
        <p:spPr>
          <a:xfrm>
            <a:off x="0" y="0"/>
            <a:ext cx="4206988" cy="5721133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F73C75D8-DF9B-2E2A-4CC1-E3E2566D7E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6200000">
            <a:off x="2807239" y="-2819814"/>
            <a:ext cx="6182234" cy="11771312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50CA2D0B-73F8-D5D4-01D6-81ED549F0072}"/>
              </a:ext>
            </a:extLst>
          </p:cNvPr>
          <p:cNvSpPr/>
          <p:nvPr userDrawn="1"/>
        </p:nvSpPr>
        <p:spPr>
          <a:xfrm>
            <a:off x="0" y="4462322"/>
            <a:ext cx="12179301" cy="1258394"/>
          </a:xfrm>
          <a:prstGeom prst="rect">
            <a:avLst/>
          </a:prstGeom>
          <a:solidFill>
            <a:srgbClr val="728DB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ACE02AE9-7C93-6DAA-C627-52EB7D806CB4}"/>
              </a:ext>
            </a:extLst>
          </p:cNvPr>
          <p:cNvSpPr/>
          <p:nvPr userDrawn="1"/>
        </p:nvSpPr>
        <p:spPr>
          <a:xfrm>
            <a:off x="0" y="5683033"/>
            <a:ext cx="12192000" cy="7742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s-ES" sz="2000" err="1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4AB5096-3E65-A079-032B-B836F637BF27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 bwMode="gray">
          <a:xfrm>
            <a:off x="695325" y="6563358"/>
            <a:ext cx="4464050" cy="889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269256EB-E0AF-9B1C-5711-390B2262CC00}"/>
              </a:ext>
            </a:extLst>
          </p:cNvPr>
          <p:cNvSpPr txBox="1"/>
          <p:nvPr userDrawn="1"/>
        </p:nvSpPr>
        <p:spPr>
          <a:xfrm>
            <a:off x="12722087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11" name="Slide Number Placeholder 7">
            <a:extLst>
              <a:ext uri="{FF2B5EF4-FFF2-40B4-BE49-F238E27FC236}">
                <a16:creationId xmlns:a16="http://schemas.microsoft.com/office/drawing/2014/main" id="{B0FB60CA-EECF-AEDD-4816-C113743D5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32012" y="6632547"/>
            <a:ext cx="252000" cy="1073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3" name="Graphic 7">
            <a:extLst>
              <a:ext uri="{FF2B5EF4-FFF2-40B4-BE49-F238E27FC236}">
                <a16:creationId xmlns:a16="http://schemas.microsoft.com/office/drawing/2014/main" id="{E96B3DBC-ED33-7E64-2D15-16F932AC1C5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00395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ct 3">
            <a:extLst>
              <a:ext uri="{FF2B5EF4-FFF2-40B4-BE49-F238E27FC236}">
                <a16:creationId xmlns:a16="http://schemas.microsoft.com/office/drawing/2014/main" id="{E0AB69CF-E939-4FB0-9C79-D0DA0D165883}"/>
              </a:ext>
            </a:extLst>
          </p:cNvPr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824" y="0"/>
            <a:ext cx="12195824" cy="6858000"/>
          </a:xfrm>
          <a:prstGeom prst="rect">
            <a:avLst/>
          </a:prstGeom>
        </p:spPr>
      </p:pic>
      <p:pic>
        <p:nvPicPr>
          <p:cNvPr id="4" name="Imagen 3" descr="Imagen en blanco y negro de la luna&#10;&#10;Descripción generada automáticamente con confianza baja">
            <a:extLst>
              <a:ext uri="{FF2B5EF4-FFF2-40B4-BE49-F238E27FC236}">
                <a16:creationId xmlns:a16="http://schemas.microsoft.com/office/drawing/2014/main" id="{43D9385F-54A7-3649-7FF5-DC525C0AD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3453A81-BA7D-3A0A-B599-D407E2B8969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rot="5400000">
            <a:off x="3873956" y="-1460046"/>
            <a:ext cx="4440263" cy="12195826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6C246EE5-CAE9-C346-A9B5-DF1321981BE5}"/>
              </a:ext>
            </a:extLst>
          </p:cNvPr>
          <p:cNvSpPr txBox="1"/>
          <p:nvPr userDrawn="1"/>
        </p:nvSpPr>
        <p:spPr>
          <a:xfrm>
            <a:off x="12722087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EA65480-C959-28B1-DCC0-90F631F6F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32012" y="6632547"/>
            <a:ext cx="252000" cy="1073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0" name="Graphic 7">
            <a:extLst>
              <a:ext uri="{FF2B5EF4-FFF2-40B4-BE49-F238E27FC236}">
                <a16:creationId xmlns:a16="http://schemas.microsoft.com/office/drawing/2014/main" id="{78EDE8D4-2295-D2CF-96C5-65CB662D9EB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83801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/>
              <a:t> 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3" name="Innovation Curve">
            <a:extLst>
              <a:ext uri="{FF2B5EF4-FFF2-40B4-BE49-F238E27FC236}">
                <a16:creationId xmlns:a16="http://schemas.microsoft.com/office/drawing/2014/main" id="{18332D96-F8AA-AD1E-863A-6EA58DA26D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5655" y="0"/>
            <a:ext cx="6835842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Click to add image. Then Reorder: Send to back</a:t>
            </a:r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101235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/>
              <a:t>Click to edit Master subtitle style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55972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8" name="Innovation Curve">
            <a:extLst>
              <a:ext uri="{FF2B5EF4-FFF2-40B4-BE49-F238E27FC236}">
                <a16:creationId xmlns:a16="http://schemas.microsoft.com/office/drawing/2014/main" id="{F707DE12-3594-93EB-F056-2B2C43B247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37463" y="3175"/>
            <a:ext cx="4554537" cy="685641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Info box">
            <a:extLst>
              <a:ext uri="{FF2B5EF4-FFF2-40B4-BE49-F238E27FC236}">
                <a16:creationId xmlns:a16="http://schemas.microsoft.com/office/drawing/2014/main" id="{3CEDB687-72D7-CB65-F36A-20FAF24C235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71475" y="5875374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00" kern="1200" noProof="0" dirty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28709142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3" name="Info 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2153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Dark_Image Bot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 Navy SemiTrans Overlay">
            <a:extLst>
              <a:ext uri="{FF2B5EF4-FFF2-40B4-BE49-F238E27FC236}">
                <a16:creationId xmlns:a16="http://schemas.microsoft.com/office/drawing/2014/main" id="{814008A9-48D1-A825-2133-305473A22B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96604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31855" y="3147301"/>
            <a:ext cx="788669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71690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5" name="Innovation Curve Over v02">
            <a:extLst>
              <a:ext uri="{FF2B5EF4-FFF2-40B4-BE49-F238E27FC236}">
                <a16:creationId xmlns:a16="http://schemas.microsoft.com/office/drawing/2014/main" id="{7A6AA644-177D-9E4C-8A3F-250C66632B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3733800"/>
            <a:ext cx="2752725" cy="2743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/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Info box">
            <a:extLst>
              <a:ext uri="{FF2B5EF4-FFF2-40B4-BE49-F238E27FC236}">
                <a16:creationId xmlns:a16="http://schemas.microsoft.com/office/drawing/2014/main" id="{56B3E0DC-CFF6-D134-CAF5-A5425EB6CB8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14" name="NTT DATA Global Logo" descr="NTT DATA Global Logo">
            <a:extLst>
              <a:ext uri="{FF2B5EF4-FFF2-40B4-BE49-F238E27FC236}">
                <a16:creationId xmlns:a16="http://schemas.microsoft.com/office/drawing/2014/main" id="{94BFDE7A-6BFD-69BD-47EF-32959BB948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997184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0194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323418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S Changeab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7DC2259-81C9-56B0-DDA5-DD8817045B6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270668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17272B-B864-D450-1C24-ED25197B686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07987" y="3492000"/>
            <a:ext cx="9072000" cy="1728000"/>
          </a:xfrm>
        </p:spPr>
        <p:txBody>
          <a:bodyPr anchor="t"/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4C4D1A-35DF-A5A0-AAD5-804374E5F4B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7" y="5580000"/>
            <a:ext cx="9072000" cy="873188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EFC14E1-100C-EDB5-AD68-415AFF0446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7" y="2997200"/>
            <a:ext cx="9072000" cy="34131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  <a:lvl2pPr marL="0" indent="0">
              <a:buNone/>
              <a:defRPr sz="2000" b="1"/>
            </a:lvl2pPr>
          </a:lstStyle>
          <a:p>
            <a:pPr lvl="0"/>
            <a:r>
              <a:rPr lang="en-US"/>
              <a:t>Client Nam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8A2E206-0155-F0AA-E09A-69D38A8DA53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276747" y="3000693"/>
            <a:ext cx="1522800" cy="24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1526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88" userDrawn="1">
          <p15:clr>
            <a:srgbClr val="FBAE40"/>
          </p15:clr>
        </p15:guide>
        <p15:guide id="3" orient="horz" pos="1706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45127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46686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72720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8253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Dark with foo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9608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/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5AC7748B-57B0-6A46-ED50-8FBD40E607A6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935213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E3C760B8-DB89-2960-48EE-7551EFCFDEA7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7809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6829493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86909" y="6563358"/>
            <a:ext cx="3111831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</p:spTree>
    <p:extLst>
      <p:ext uri="{BB962C8B-B14F-4D97-AF65-F5344CB8AC3E}">
        <p14:creationId xmlns:p14="http://schemas.microsoft.com/office/powerpoint/2010/main" val="729395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53191FB2-5C06-3B67-1454-1D220DA037E1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257643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 Thre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928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S Smart Navy Changeab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6F6E6FE-EFF5-00EB-4BA1-4AABF527C0A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7DC2259-81C9-56B0-DDA5-DD8817045B6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270668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17272B-B864-D450-1C24-ED25197B686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07987" y="3492000"/>
            <a:ext cx="9072000" cy="1728000"/>
          </a:xfrm>
        </p:spPr>
        <p:txBody>
          <a:bodyPr anchor="t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4C4D1A-35DF-A5A0-AAD5-804374E5F4B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7" y="5580000"/>
            <a:ext cx="9072000" cy="873188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EFC14E1-100C-EDB5-AD68-415AFF0446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7" y="2997200"/>
            <a:ext cx="9072000" cy="34131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="1">
                <a:solidFill>
                  <a:schemeClr val="bg1"/>
                </a:solidFill>
              </a:defRPr>
            </a:lvl1pPr>
            <a:lvl2pPr marL="0" indent="0">
              <a:buNone/>
              <a:defRPr sz="2000" b="1"/>
            </a:lvl2pPr>
          </a:lstStyle>
          <a:p>
            <a:pPr lvl="0"/>
            <a:r>
              <a:rPr lang="en-US"/>
              <a:t>Client Nam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95FCC2D-C899-8400-7EB2-EA05A1C5391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276747" y="3000693"/>
            <a:ext cx="1522800" cy="24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944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88" userDrawn="1">
          <p15:clr>
            <a:srgbClr val="FBAE40"/>
          </p15:clr>
        </p15:guide>
        <p15:guide id="3" orient="horz" pos="1706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91928" y="3987606"/>
            <a:ext cx="5365113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377440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6616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59747" y="2140169"/>
            <a:ext cx="2460778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3840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3"/>
            <a:ext cx="4353503" cy="356616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3"/>
            <a:ext cx="2460778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377440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59747" y="4926695"/>
            <a:ext cx="2460778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81844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NTT DATA Global Logo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5014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197708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3EC910-66B9-7290-6910-39097643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8FF710-A250-66BE-1682-899EBECEA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4421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</p:spTree>
    <p:extLst>
      <p:ext uri="{BB962C8B-B14F-4D97-AF65-F5344CB8AC3E}">
        <p14:creationId xmlns:p14="http://schemas.microsoft.com/office/powerpoint/2010/main" val="114173794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pt-BR" noProof="0"/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8" name="Innovation Curve">
            <a:extLst>
              <a:ext uri="{FF2B5EF4-FFF2-40B4-BE49-F238E27FC236}">
                <a16:creationId xmlns:a16="http://schemas.microsoft.com/office/drawing/2014/main" id="{8FAD0C94-F295-1BA4-75E9-C0403855E0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0970" y="2281852"/>
            <a:ext cx="3879556" cy="389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226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9180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Dibujo de un edificio&#10;&#10;Descripción generada automáticamente con confianza media">
            <a:extLst>
              <a:ext uri="{FF2B5EF4-FFF2-40B4-BE49-F238E27FC236}">
                <a16:creationId xmlns:a16="http://schemas.microsoft.com/office/drawing/2014/main" id="{A2F2BFC3-E54A-4B40-EF23-33EED3620D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367F8ABB-A725-FB78-68A6-931B20F8E88E}"/>
              </a:ext>
            </a:extLst>
          </p:cNvPr>
          <p:cNvSpPr txBox="1"/>
          <p:nvPr userDrawn="1"/>
        </p:nvSpPr>
        <p:spPr>
          <a:xfrm>
            <a:off x="644318" y="6554180"/>
            <a:ext cx="4552102" cy="889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2023 NTT DATA</a:t>
            </a:r>
          </a:p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>
              <a:solidFill>
                <a:srgbClr val="000000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D12CD19-0A49-B31A-6CAE-5FD307691D1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64045" y="6563358"/>
            <a:ext cx="304800" cy="88901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78CF331-F007-8B12-033D-E7A50375AF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" y="0"/>
            <a:ext cx="12192005" cy="6858000"/>
          </a:xfrm>
          <a:prstGeom prst="rect">
            <a:avLst/>
          </a:prstGeom>
        </p:spPr>
      </p:pic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492D3717-7983-65C3-29EA-6A2F3890DED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2012" y="6632547"/>
            <a:ext cx="252000" cy="10731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indent="0" algn="r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0" name="Graphic 7">
            <a:extLst>
              <a:ext uri="{FF2B5EF4-FFF2-40B4-BE49-F238E27FC236}">
                <a16:creationId xmlns:a16="http://schemas.microsoft.com/office/drawing/2014/main" id="{AF9761CE-EB64-0BF3-53FE-8B40EAF3BC8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69919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109345-2AC7-F0EA-F5D0-8B318319F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04814"/>
            <a:ext cx="11376025" cy="720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3965DCC-85D8-CEE1-BC78-E2EFCAE768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5" name="Imagen 4" descr="Imagen que contiene biombo, edificio, con baldosas, ventana&#10;&#10;Descripción generada automáticamente">
            <a:extLst>
              <a:ext uri="{FF2B5EF4-FFF2-40B4-BE49-F238E27FC236}">
                <a16:creationId xmlns:a16="http://schemas.microsoft.com/office/drawing/2014/main" id="{EB66A7C8-3868-B627-A177-000266AC46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DB3E339C-1127-3138-6504-99BBC7EEB3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6" y="-3"/>
            <a:ext cx="12192001" cy="685800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B281EB25-A9D3-D589-0B3D-BC28DD90D618}"/>
              </a:ext>
            </a:extLst>
          </p:cNvPr>
          <p:cNvSpPr txBox="1"/>
          <p:nvPr userDrawn="1"/>
        </p:nvSpPr>
        <p:spPr>
          <a:xfrm>
            <a:off x="12722087" y="9939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s-ES" sz="2000"/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A66D986E-B831-398C-8BD3-C910639E753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2012" y="6632547"/>
            <a:ext cx="252000" cy="10731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indent="0" algn="r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5CA86E5A-56DF-4900-1EDE-220C38E51C9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697232" y="381705"/>
            <a:ext cx="995834" cy="1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73012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/>
              <a:t> 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3" name="Innovation Curve">
            <a:extLst>
              <a:ext uri="{FF2B5EF4-FFF2-40B4-BE49-F238E27FC236}">
                <a16:creationId xmlns:a16="http://schemas.microsoft.com/office/drawing/2014/main" id="{18332D96-F8AA-AD1E-863A-6EA58DA26D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5655" y="0"/>
            <a:ext cx="6835842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Click to add image. Then Reorder: Send to back</a:t>
            </a:r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101235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/>
              <a:t>Click to edit Master subtitle style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1707021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8" name="Innovation Curve">
            <a:extLst>
              <a:ext uri="{FF2B5EF4-FFF2-40B4-BE49-F238E27FC236}">
                <a16:creationId xmlns:a16="http://schemas.microsoft.com/office/drawing/2014/main" id="{F707DE12-3594-93EB-F056-2B2C43B247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37463" y="3175"/>
            <a:ext cx="4554537" cy="685641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Info box">
            <a:extLst>
              <a:ext uri="{FF2B5EF4-FFF2-40B4-BE49-F238E27FC236}">
                <a16:creationId xmlns:a16="http://schemas.microsoft.com/office/drawing/2014/main" id="{3CEDB687-72D7-CB65-F36A-20FAF24C235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71475" y="5875374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00" kern="1200" noProof="0" dirty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874911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mart Navy with Outline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4C31E-1753-737C-D7CF-6B6752E99A2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6" y="404814"/>
            <a:ext cx="91440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EE32BC-B8F9-D63A-BE03-91A39A41DE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7988" y="1412875"/>
            <a:ext cx="9144000" cy="5040313"/>
          </a:xfrm>
        </p:spPr>
        <p:txBody>
          <a:bodyPr/>
          <a:lstStyle>
            <a:lvl1pPr marL="432000" indent="-432000">
              <a:spcBef>
                <a:spcPts val="1200"/>
              </a:spcBef>
              <a:buFont typeface="+mj-lt"/>
              <a:buAutoNum type="arabicPeriod"/>
              <a:defRPr sz="2000"/>
            </a:lvl1pPr>
            <a:lvl2pPr marL="648000">
              <a:defRPr/>
            </a:lvl2pPr>
            <a:lvl3pPr marL="864000">
              <a:defRPr/>
            </a:lvl3pPr>
            <a:lvl4pPr marL="1080000">
              <a:defRPr/>
            </a:lvl4pPr>
            <a:lvl5pPr marL="1296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B524D9-E67B-63BB-4121-11BD9A07474A}"/>
              </a:ext>
            </a:extLst>
          </p:cNvPr>
          <p:cNvSpPr/>
          <p:nvPr/>
        </p:nvSpPr>
        <p:spPr bwMode="gray">
          <a:xfrm>
            <a:off x="9842500" y="0"/>
            <a:ext cx="23495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8" descr="Imagen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7FAB5CB1-4781-C3EA-F62F-E5D2AE86F22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842500" y="4508499"/>
            <a:ext cx="2349500" cy="234950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416C37F-7119-7C3C-C9D0-110B22A6523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10255792" y="397194"/>
            <a:ext cx="1522800" cy="24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199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3" name="Info 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993551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Dark_Image Bot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 Navy SemiTrans Overlay">
            <a:extLst>
              <a:ext uri="{FF2B5EF4-FFF2-40B4-BE49-F238E27FC236}">
                <a16:creationId xmlns:a16="http://schemas.microsoft.com/office/drawing/2014/main" id="{814008A9-48D1-A825-2133-305473A22B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96604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31855" y="3147301"/>
            <a:ext cx="788669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71690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5" name="Innovation Curve Over v02">
            <a:extLst>
              <a:ext uri="{FF2B5EF4-FFF2-40B4-BE49-F238E27FC236}">
                <a16:creationId xmlns:a16="http://schemas.microsoft.com/office/drawing/2014/main" id="{7A6AA644-177D-9E4C-8A3F-250C66632B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3733800"/>
            <a:ext cx="2752725" cy="2743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/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Info box">
            <a:extLst>
              <a:ext uri="{FF2B5EF4-FFF2-40B4-BE49-F238E27FC236}">
                <a16:creationId xmlns:a16="http://schemas.microsoft.com/office/drawing/2014/main" id="{56B3E0DC-CFF6-D134-CAF5-A5425EB6CB8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14" name="NTT DATA Global Logo" descr="NTT DATA Global Logo">
            <a:extLst>
              <a:ext uri="{FF2B5EF4-FFF2-40B4-BE49-F238E27FC236}">
                <a16:creationId xmlns:a16="http://schemas.microsoft.com/office/drawing/2014/main" id="{94BFDE7A-6BFD-69BD-47EF-32959BB948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202536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12281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241424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622517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4111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831083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2958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Dark with foo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37950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/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5AC7748B-57B0-6A46-ED50-8FBD40E607A6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92377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Human Blue with Outline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4C31E-1753-737C-D7CF-6B6752E99A2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6" y="404814"/>
            <a:ext cx="91440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B524D9-E67B-63BB-4121-11BD9A07474A}"/>
              </a:ext>
            </a:extLst>
          </p:cNvPr>
          <p:cNvSpPr/>
          <p:nvPr/>
        </p:nvSpPr>
        <p:spPr bwMode="gray">
          <a:xfrm>
            <a:off x="9842500" y="0"/>
            <a:ext cx="23495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8" descr="Imagen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7FAB5CB1-4781-C3EA-F62F-E5D2AE86F22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842500" y="4508499"/>
            <a:ext cx="2349500" cy="2349501"/>
          </a:xfrm>
          <a:prstGeom prst="rect">
            <a:avLst/>
          </a:prstGeom>
        </p:spPr>
      </p:pic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8B079A5-E8C9-ED20-0BE6-5DB7F308C2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7988" y="1412875"/>
            <a:ext cx="9144000" cy="5040313"/>
          </a:xfrm>
        </p:spPr>
        <p:txBody>
          <a:bodyPr/>
          <a:lstStyle>
            <a:lvl1pPr marL="432000" indent="-432000">
              <a:spcBef>
                <a:spcPts val="1200"/>
              </a:spcBef>
              <a:buFont typeface="+mj-lt"/>
              <a:buAutoNum type="arabicPeriod"/>
              <a:defRPr sz="2000"/>
            </a:lvl1pPr>
            <a:lvl2pPr marL="648000">
              <a:defRPr/>
            </a:lvl2pPr>
            <a:lvl3pPr marL="864000">
              <a:defRPr/>
            </a:lvl3pPr>
            <a:lvl4pPr marL="1080000">
              <a:defRPr/>
            </a:lvl4pPr>
            <a:lvl5pPr marL="1296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A95973D-5A4D-5B5E-750B-3312B84C7CB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10255792" y="397194"/>
            <a:ext cx="1522800" cy="24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069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199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E3C760B8-DB89-2960-48EE-7551EFCFDEA7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1554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6829493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86909" y="6563358"/>
            <a:ext cx="3111831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</p:spTree>
    <p:extLst>
      <p:ext uri="{BB962C8B-B14F-4D97-AF65-F5344CB8AC3E}">
        <p14:creationId xmlns:p14="http://schemas.microsoft.com/office/powerpoint/2010/main" val="3682777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53191FB2-5C06-3B67-1454-1D220DA037E1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219644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 Thre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55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91928" y="3987606"/>
            <a:ext cx="5365113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377440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6616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59747" y="2140169"/>
            <a:ext cx="2460778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3840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3"/>
            <a:ext cx="4353503" cy="356616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3"/>
            <a:ext cx="2460778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377440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59747" y="4926695"/>
            <a:ext cx="2460778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04171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NTT DATA Global Logo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2653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NTT DATA Global Logo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2653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230570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3EC910-66B9-7290-6910-39097643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8FF710-A250-66BE-1682-899EBECEA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4421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</p:spTree>
    <p:extLst>
      <p:ext uri="{BB962C8B-B14F-4D97-AF65-F5344CB8AC3E}">
        <p14:creationId xmlns:p14="http://schemas.microsoft.com/office/powerpoint/2010/main" val="275386427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pt-BR" noProof="0"/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8" name="Innovation Curve">
            <a:extLst>
              <a:ext uri="{FF2B5EF4-FFF2-40B4-BE49-F238E27FC236}">
                <a16:creationId xmlns:a16="http://schemas.microsoft.com/office/drawing/2014/main" id="{8FAD0C94-F295-1BA4-75E9-C0403855E0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0970" y="2281852"/>
            <a:ext cx="3879556" cy="389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1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23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4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3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5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8.xml"/><Relationship Id="rId21" Type="http://schemas.openxmlformats.org/officeDocument/2006/relationships/image" Target="../media/image25.svg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image" Target="../media/image24.png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image" Target="../media/image25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image" Target="../media/image24.png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image" Target="../media/image25.sv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BBE737-E323-235A-0021-88662CD1E6D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7" y="404814"/>
            <a:ext cx="11376025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0D1662-0CED-9909-FD67-AC1F6118248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87" y="1412875"/>
            <a:ext cx="11376025" cy="504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D0D83E-9C43-2084-9EF9-B0D81D690ED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88" y="6632547"/>
            <a:ext cx="792160" cy="10731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2C2D16-8EA0-49AC-8E4B-6241A0D4562C}" type="datetime1">
              <a:rPr lang="en-US" smtClean="0"/>
              <a:t>10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AD6D95-2049-7607-E26E-0533055920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01214" y="6632547"/>
            <a:ext cx="5427808" cy="10731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NTT DATA 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ED112F-3033-2367-7A1C-39E6D5215F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532012" y="6632547"/>
            <a:ext cx="252000" cy="10731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92A66A-EA94-4991-BD7F-89548FF80B25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2185813-BAF1-9E16-9F9B-D6D3CC69EE65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 bwMode="gray">
          <a:xfrm>
            <a:off x="10372615" y="6617523"/>
            <a:ext cx="842400" cy="137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002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9" r:id="rId2"/>
    <p:sldLayoutId id="2147483653" r:id="rId3"/>
    <p:sldLayoutId id="2147483652" r:id="rId4"/>
    <p:sldLayoutId id="2147483654" r:id="rId5"/>
    <p:sldLayoutId id="2147483658" r:id="rId6"/>
    <p:sldLayoutId id="2147483659" r:id="rId7"/>
    <p:sldLayoutId id="2147483661" r:id="rId8"/>
    <p:sldLayoutId id="2147483660" r:id="rId9"/>
    <p:sldLayoutId id="2147483662" r:id="rId10"/>
    <p:sldLayoutId id="2147483666" r:id="rId11"/>
    <p:sldLayoutId id="2147483667" r:id="rId12"/>
    <p:sldLayoutId id="2147483668" r:id="rId13"/>
    <p:sldLayoutId id="2147483651" r:id="rId14"/>
    <p:sldLayoutId id="2147483669" r:id="rId15"/>
    <p:sldLayoutId id="2147483670" r:id="rId16"/>
    <p:sldLayoutId id="2147483671" r:id="rId17"/>
    <p:sldLayoutId id="2147483672" r:id="rId18"/>
    <p:sldLayoutId id="2147483673" r:id="rId19"/>
    <p:sldLayoutId id="2147483687" r:id="rId20"/>
    <p:sldLayoutId id="2147483688" r:id="rId21"/>
    <p:sldLayoutId id="2147483679" r:id="rId22"/>
    <p:sldLayoutId id="2147483675" r:id="rId23"/>
    <p:sldLayoutId id="2147483684" r:id="rId24"/>
    <p:sldLayoutId id="2147483676" r:id="rId25"/>
    <p:sldLayoutId id="2147483681" r:id="rId26"/>
    <p:sldLayoutId id="2147483677" r:id="rId27"/>
    <p:sldLayoutId id="2147483678" r:id="rId28"/>
    <p:sldLayoutId id="2147483680" r:id="rId29"/>
    <p:sldLayoutId id="2147483683" r:id="rId30"/>
    <p:sldLayoutId id="2147483674" r:id="rId31"/>
    <p:sldLayoutId id="2147483919" r:id="rId32"/>
    <p:sldLayoutId id="2147483920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255" userDrawn="1">
          <p15:clr>
            <a:srgbClr val="F26B43"/>
          </p15:clr>
        </p15:guide>
        <p15:guide id="4" orient="horz" pos="890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44632A-2918-4D07-821E-9CC4B7A378D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en-US"/>
              <a:t>© 2023 NTT DATA,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4" name="Object Align" hidden="1">
            <a:extLst>
              <a:ext uri="{FF2B5EF4-FFF2-40B4-BE49-F238E27FC236}">
                <a16:creationId xmlns:a16="http://schemas.microsoft.com/office/drawing/2014/main" id="{2409C08C-6580-A845-A257-7F092F05A48D}"/>
              </a:ext>
            </a:extLst>
          </p:cNvPr>
          <p:cNvGraphicFramePr>
            <a:graphicFrameLocks noGrp="1" noDrilldown="1" noMove="1" noResize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99" imgH="299" progId="TCLayout.ActiveDocument.1">
                  <p:embed/>
                </p:oleObj>
              </mc:Choice>
              <mc:Fallback>
                <p:oleObj name="think-cell Folie" r:id="rId6" imgW="299" imgH="299" progId="TCLayout.ActiveDocument.1">
                  <p:embed/>
                  <p:pic>
                    <p:nvPicPr>
                      <p:cNvPr id="4" name="Object Align" hidden="1">
                        <a:extLst>
                          <a:ext uri="{FF2B5EF4-FFF2-40B4-BE49-F238E27FC236}">
                            <a16:creationId xmlns:a16="http://schemas.microsoft.com/office/drawing/2014/main" id="{2409C08C-6580-A845-A257-7F092F05A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469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8" pos="744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© 2023 NTT DATA,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B22E3CC-1B88-CF67-AD2F-D65E37E3716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NTT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3" name="Object Align" hidden="1">
            <a:extLst>
              <a:ext uri="{FF2B5EF4-FFF2-40B4-BE49-F238E27FC236}">
                <a16:creationId xmlns:a16="http://schemas.microsoft.com/office/drawing/2014/main" id="{1B3A0C6D-49EF-F306-1DED-9E8A6FD94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99" imgH="299" progId="TCLayout.ActiveDocument.1">
                  <p:embed/>
                </p:oleObj>
              </mc:Choice>
              <mc:Fallback>
                <p:oleObj name="think-cell Folie" r:id="rId6" imgW="299" imgH="299" progId="TCLayout.ActiveDocument.1">
                  <p:embed/>
                  <p:pic>
                    <p:nvPicPr>
                      <p:cNvPr id="3" name="Object Align" hidden="1">
                        <a:extLst>
                          <a:ext uri="{FF2B5EF4-FFF2-40B4-BE49-F238E27FC236}">
                            <a16:creationId xmlns:a16="http://schemas.microsoft.com/office/drawing/2014/main" id="{1B3A0C6D-49EF-F306-1DED-9E8A6FD94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B22E3CC-1B88-CF67-AD2F-D65E37E3716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NTT DATA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 bwMode="gray">
          <a:xfrm>
            <a:off x="10531554" y="6449745"/>
            <a:ext cx="1288971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44" r:id="rId2"/>
    <p:sldLayoutId id="2147483945" r:id="rId3"/>
    <p:sldLayoutId id="2147483946" r:id="rId4"/>
    <p:sldLayoutId id="2147483712" r:id="rId5"/>
    <p:sldLayoutId id="2147483699" r:id="rId6"/>
    <p:sldLayoutId id="2147483692" r:id="rId7"/>
    <p:sldLayoutId id="2147483695" r:id="rId8"/>
    <p:sldLayoutId id="2147483696" r:id="rId9"/>
    <p:sldLayoutId id="2147483697" r:id="rId10"/>
    <p:sldLayoutId id="2147483698" r:id="rId11"/>
    <p:sldLayoutId id="2147483701" r:id="rId12"/>
    <p:sldLayoutId id="2147483702" r:id="rId13"/>
    <p:sldLayoutId id="2147483704" r:id="rId14"/>
    <p:sldLayoutId id="2147483714" r:id="rId15"/>
    <p:sldLayoutId id="2147483715" r:id="rId16"/>
    <p:sldLayoutId id="2147483707" r:id="rId17"/>
    <p:sldLayoutId id="2147483711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bg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B22E3CC-1B88-CF67-AD2F-D65E37E3716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NTT DATA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 bwMode="gray">
          <a:xfrm>
            <a:off x="10531554" y="6449745"/>
            <a:ext cx="1288971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037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  <p:sldLayoutId id="2147483938" r:id="rId17"/>
    <p:sldLayoutId id="2147483939" r:id="rId18"/>
    <p:sldLayoutId id="2147483940" r:id="rId19"/>
    <p:sldLayoutId id="2147483941" r:id="rId20"/>
    <p:sldLayoutId id="2147483942" r:id="rId21"/>
    <p:sldLayoutId id="2147483943" r:id="rId22"/>
    <p:sldLayoutId id="2147483947" r:id="rId23"/>
    <p:sldLayoutId id="2147483948" r:id="rId2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bg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B22E3CC-1B88-CF67-AD2F-D65E37E3716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NTT DATA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 bwMode="gray">
          <a:xfrm>
            <a:off x="10531554" y="6449745"/>
            <a:ext cx="1288971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67" r:id="rId3"/>
    <p:sldLayoutId id="2147483768" r:id="rId4"/>
    <p:sldLayoutId id="2147483750" r:id="rId5"/>
    <p:sldLayoutId id="2147483751" r:id="rId6"/>
    <p:sldLayoutId id="2147483752" r:id="rId7"/>
    <p:sldLayoutId id="2147483770" r:id="rId8"/>
    <p:sldLayoutId id="2147483754" r:id="rId9"/>
    <p:sldLayoutId id="2147483769" r:id="rId10"/>
    <p:sldLayoutId id="2147483772" r:id="rId11"/>
    <p:sldLayoutId id="2147483755" r:id="rId12"/>
    <p:sldLayoutId id="2147483756" r:id="rId13"/>
    <p:sldLayoutId id="2147483757" r:id="rId14"/>
    <p:sldLayoutId id="2147483764" r:id="rId15"/>
    <p:sldLayoutId id="2147483758" r:id="rId16"/>
    <p:sldLayoutId id="2147483760" r:id="rId17"/>
    <p:sldLayoutId id="2147483791" r:id="rId18"/>
    <p:sldLayoutId id="2147483761" r:id="rId19"/>
    <p:sldLayoutId id="2147483950" r:id="rId20"/>
    <p:sldLayoutId id="2147483746" r:id="rId21"/>
    <p:sldLayoutId id="2147483747" r:id="rId22"/>
    <p:sldLayoutId id="2147483748" r:id="rId23"/>
    <p:sldLayoutId id="2147483951" r:id="rId2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bg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4DB4C7-535B-ACE9-FD48-E216483B58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04801"/>
            <a:ext cx="11430000" cy="53339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15ACC7-9813-39D4-E0E6-4E62A1947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1600"/>
            <a:ext cx="11430000" cy="48768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NTT DATA Global Logo">
            <a:extLst>
              <a:ext uri="{FF2B5EF4-FFF2-40B4-BE49-F238E27FC236}">
                <a16:creationId xmlns:a16="http://schemas.microsoft.com/office/drawing/2014/main" id="{E4A297F2-4804-B5AA-637C-78C8A88550D2}"/>
              </a:ext>
            </a:extLst>
          </p:cNvPr>
          <p:cNvSpPr/>
          <p:nvPr/>
        </p:nvSpPr>
        <p:spPr bwMode="black">
          <a:xfrm>
            <a:off x="10588752" y="6428232"/>
            <a:ext cx="1211639" cy="246888"/>
          </a:xfrm>
          <a:custGeom>
            <a:avLst/>
            <a:gdLst>
              <a:gd name="connsiteX0" fmla="*/ 9329240 w 10020924"/>
              <a:gd name="connsiteY0" fmla="*/ 1080290 h 2041903"/>
              <a:gd name="connsiteX1" fmla="*/ 9251983 w 10020924"/>
              <a:gd name="connsiteY1" fmla="*/ 1187029 h 2041903"/>
              <a:gd name="connsiteX2" fmla="*/ 9329240 w 10020924"/>
              <a:gd name="connsiteY2" fmla="*/ 1296468 h 2041903"/>
              <a:gd name="connsiteX3" fmla="*/ 9782722 w 10020924"/>
              <a:gd name="connsiteY3" fmla="*/ 1296468 h 2041903"/>
              <a:gd name="connsiteX4" fmla="*/ 9782722 w 10020924"/>
              <a:gd name="connsiteY4" fmla="*/ 1080290 h 2041903"/>
              <a:gd name="connsiteX5" fmla="*/ 7331825 w 10020924"/>
              <a:gd name="connsiteY5" fmla="*/ 1080290 h 2041903"/>
              <a:gd name="connsiteX6" fmla="*/ 7254583 w 10020924"/>
              <a:gd name="connsiteY6" fmla="*/ 1187029 h 2041903"/>
              <a:gd name="connsiteX7" fmla="*/ 7331825 w 10020924"/>
              <a:gd name="connsiteY7" fmla="*/ 1296468 h 2041903"/>
              <a:gd name="connsiteX8" fmla="*/ 7785307 w 10020924"/>
              <a:gd name="connsiteY8" fmla="*/ 1296468 h 2041903"/>
              <a:gd name="connsiteX9" fmla="*/ 7785307 w 10020924"/>
              <a:gd name="connsiteY9" fmla="*/ 1080290 h 2041903"/>
              <a:gd name="connsiteX10" fmla="*/ 6171264 w 10020924"/>
              <a:gd name="connsiteY10" fmla="*/ 689323 h 2041903"/>
              <a:gd name="connsiteX11" fmla="*/ 6171264 w 10020924"/>
              <a:gd name="connsiteY11" fmla="*/ 1297318 h 2041903"/>
              <a:gd name="connsiteX12" fmla="*/ 6558679 w 10020924"/>
              <a:gd name="connsiteY12" fmla="*/ 1297318 h 2041903"/>
              <a:gd name="connsiteX13" fmla="*/ 6679368 w 10020924"/>
              <a:gd name="connsiteY13" fmla="*/ 1156413 h 2041903"/>
              <a:gd name="connsiteX14" fmla="*/ 6679368 w 10020924"/>
              <a:gd name="connsiteY14" fmla="*/ 830244 h 2041903"/>
              <a:gd name="connsiteX15" fmla="*/ 6558679 w 10020924"/>
              <a:gd name="connsiteY15" fmla="*/ 689323 h 2041903"/>
              <a:gd name="connsiteX16" fmla="*/ 9072763 w 10020924"/>
              <a:gd name="connsiteY16" fmla="*/ 463851 h 2041903"/>
              <a:gd name="connsiteX17" fmla="*/ 9678449 w 10020924"/>
              <a:gd name="connsiteY17" fmla="*/ 463851 h 2041903"/>
              <a:gd name="connsiteX18" fmla="*/ 10020924 w 10020924"/>
              <a:gd name="connsiteY18" fmla="*/ 826574 h 2041903"/>
              <a:gd name="connsiteX19" fmla="*/ 10020924 w 10020924"/>
              <a:gd name="connsiteY19" fmla="*/ 1522671 h 2041903"/>
              <a:gd name="connsiteX20" fmla="*/ 9304207 w 10020924"/>
              <a:gd name="connsiteY20" fmla="*/ 1522671 h 2041903"/>
              <a:gd name="connsiteX21" fmla="*/ 9015771 w 10020924"/>
              <a:gd name="connsiteY21" fmla="*/ 1219793 h 2041903"/>
              <a:gd name="connsiteX22" fmla="*/ 9015771 w 10020924"/>
              <a:gd name="connsiteY22" fmla="*/ 1169781 h 2041903"/>
              <a:gd name="connsiteX23" fmla="*/ 9294061 w 10020924"/>
              <a:gd name="connsiteY23" fmla="*/ 866738 h 2041903"/>
              <a:gd name="connsiteX24" fmla="*/ 9782829 w 10020924"/>
              <a:gd name="connsiteY24" fmla="*/ 866738 h 2041903"/>
              <a:gd name="connsiteX25" fmla="*/ 9782707 w 10020924"/>
              <a:gd name="connsiteY25" fmla="*/ 829349 h 2041903"/>
              <a:gd name="connsiteX26" fmla="*/ 9662481 w 10020924"/>
              <a:gd name="connsiteY26" fmla="*/ 688428 h 2041903"/>
              <a:gd name="connsiteX27" fmla="*/ 9072763 w 10020924"/>
              <a:gd name="connsiteY27" fmla="*/ 688428 h 2041903"/>
              <a:gd name="connsiteX28" fmla="*/ 8071817 w 10020924"/>
              <a:gd name="connsiteY28" fmla="*/ 463851 h 2041903"/>
              <a:gd name="connsiteX29" fmla="*/ 8991911 w 10020924"/>
              <a:gd name="connsiteY29" fmla="*/ 463851 h 2041903"/>
              <a:gd name="connsiteX30" fmla="*/ 8991911 w 10020924"/>
              <a:gd name="connsiteY30" fmla="*/ 686668 h 2041903"/>
              <a:gd name="connsiteX31" fmla="*/ 8652240 w 10020924"/>
              <a:gd name="connsiteY31" fmla="*/ 686668 h 2041903"/>
              <a:gd name="connsiteX32" fmla="*/ 8652240 w 10020924"/>
              <a:gd name="connsiteY32" fmla="*/ 1522955 h 2041903"/>
              <a:gd name="connsiteX33" fmla="*/ 8411534 w 10020924"/>
              <a:gd name="connsiteY33" fmla="*/ 1522955 h 2041903"/>
              <a:gd name="connsiteX34" fmla="*/ 8411534 w 10020924"/>
              <a:gd name="connsiteY34" fmla="*/ 686668 h 2041903"/>
              <a:gd name="connsiteX35" fmla="*/ 8071817 w 10020924"/>
              <a:gd name="connsiteY35" fmla="*/ 686668 h 2041903"/>
              <a:gd name="connsiteX36" fmla="*/ 7075333 w 10020924"/>
              <a:gd name="connsiteY36" fmla="*/ 463851 h 2041903"/>
              <a:gd name="connsiteX37" fmla="*/ 7681075 w 10020924"/>
              <a:gd name="connsiteY37" fmla="*/ 463851 h 2041903"/>
              <a:gd name="connsiteX38" fmla="*/ 8023417 w 10020924"/>
              <a:gd name="connsiteY38" fmla="*/ 826574 h 2041903"/>
              <a:gd name="connsiteX39" fmla="*/ 8023417 w 10020924"/>
              <a:gd name="connsiteY39" fmla="*/ 1522671 h 2041903"/>
              <a:gd name="connsiteX40" fmla="*/ 7306759 w 10020924"/>
              <a:gd name="connsiteY40" fmla="*/ 1522671 h 2041903"/>
              <a:gd name="connsiteX41" fmla="*/ 7018293 w 10020924"/>
              <a:gd name="connsiteY41" fmla="*/ 1219793 h 2041903"/>
              <a:gd name="connsiteX42" fmla="*/ 7018293 w 10020924"/>
              <a:gd name="connsiteY42" fmla="*/ 1169781 h 2041903"/>
              <a:gd name="connsiteX43" fmla="*/ 7296628 w 10020924"/>
              <a:gd name="connsiteY43" fmla="*/ 866738 h 2041903"/>
              <a:gd name="connsiteX44" fmla="*/ 7785307 w 10020924"/>
              <a:gd name="connsiteY44" fmla="*/ 866738 h 2041903"/>
              <a:gd name="connsiteX45" fmla="*/ 7785307 w 10020924"/>
              <a:gd name="connsiteY45" fmla="*/ 829349 h 2041903"/>
              <a:gd name="connsiteX46" fmla="*/ 7665080 w 10020924"/>
              <a:gd name="connsiteY46" fmla="*/ 688428 h 2041903"/>
              <a:gd name="connsiteX47" fmla="*/ 7075333 w 10020924"/>
              <a:gd name="connsiteY47" fmla="*/ 688428 h 2041903"/>
              <a:gd name="connsiteX48" fmla="*/ 5930572 w 10020924"/>
              <a:gd name="connsiteY48" fmla="*/ 463851 h 2041903"/>
              <a:gd name="connsiteX49" fmla="*/ 6574718 w 10020924"/>
              <a:gd name="connsiteY49" fmla="*/ 463851 h 2041903"/>
              <a:gd name="connsiteX50" fmla="*/ 6925013 w 10020924"/>
              <a:gd name="connsiteY50" fmla="*/ 834884 h 2041903"/>
              <a:gd name="connsiteX51" fmla="*/ 6925013 w 10020924"/>
              <a:gd name="connsiteY51" fmla="*/ 1151743 h 2041903"/>
              <a:gd name="connsiteX52" fmla="*/ 6585968 w 10020924"/>
              <a:gd name="connsiteY52" fmla="*/ 1522671 h 2041903"/>
              <a:gd name="connsiteX53" fmla="*/ 5930572 w 10020924"/>
              <a:gd name="connsiteY53" fmla="*/ 1522671 h 2041903"/>
              <a:gd name="connsiteX54" fmla="*/ 4717895 w 10020924"/>
              <a:gd name="connsiteY54" fmla="*/ 463851 h 2041903"/>
              <a:gd name="connsiteX55" fmla="*/ 5638093 w 10020924"/>
              <a:gd name="connsiteY55" fmla="*/ 463851 h 2041903"/>
              <a:gd name="connsiteX56" fmla="*/ 5638093 w 10020924"/>
              <a:gd name="connsiteY56" fmla="*/ 686668 h 2041903"/>
              <a:gd name="connsiteX57" fmla="*/ 5298318 w 10020924"/>
              <a:gd name="connsiteY57" fmla="*/ 686668 h 2041903"/>
              <a:gd name="connsiteX58" fmla="*/ 5298318 w 10020924"/>
              <a:gd name="connsiteY58" fmla="*/ 1522955 h 2041903"/>
              <a:gd name="connsiteX59" fmla="*/ 5057626 w 10020924"/>
              <a:gd name="connsiteY59" fmla="*/ 1522955 h 2041903"/>
              <a:gd name="connsiteX60" fmla="*/ 5057626 w 10020924"/>
              <a:gd name="connsiteY60" fmla="*/ 686668 h 2041903"/>
              <a:gd name="connsiteX61" fmla="*/ 4717895 w 10020924"/>
              <a:gd name="connsiteY61" fmla="*/ 686668 h 2041903"/>
              <a:gd name="connsiteX62" fmla="*/ 3721291 w 10020924"/>
              <a:gd name="connsiteY62" fmla="*/ 463851 h 2041903"/>
              <a:gd name="connsiteX63" fmla="*/ 4641430 w 10020924"/>
              <a:gd name="connsiteY63" fmla="*/ 463851 h 2041903"/>
              <a:gd name="connsiteX64" fmla="*/ 4641430 w 10020924"/>
              <a:gd name="connsiteY64" fmla="*/ 686668 h 2041903"/>
              <a:gd name="connsiteX65" fmla="*/ 4301654 w 10020924"/>
              <a:gd name="connsiteY65" fmla="*/ 686668 h 2041903"/>
              <a:gd name="connsiteX66" fmla="*/ 4301654 w 10020924"/>
              <a:gd name="connsiteY66" fmla="*/ 1522955 h 2041903"/>
              <a:gd name="connsiteX67" fmla="*/ 4061067 w 10020924"/>
              <a:gd name="connsiteY67" fmla="*/ 1522955 h 2041903"/>
              <a:gd name="connsiteX68" fmla="*/ 4061067 w 10020924"/>
              <a:gd name="connsiteY68" fmla="*/ 686668 h 2041903"/>
              <a:gd name="connsiteX69" fmla="*/ 3721291 w 10020924"/>
              <a:gd name="connsiteY69" fmla="*/ 686668 h 2041903"/>
              <a:gd name="connsiteX70" fmla="*/ 2809822 w 10020924"/>
              <a:gd name="connsiteY70" fmla="*/ 452019 h 2041903"/>
              <a:gd name="connsiteX71" fmla="*/ 3016077 w 10020924"/>
              <a:gd name="connsiteY71" fmla="*/ 572753 h 2041903"/>
              <a:gd name="connsiteX72" fmla="*/ 3381948 w 10020924"/>
              <a:gd name="connsiteY72" fmla="*/ 1270566 h 2041903"/>
              <a:gd name="connsiteX73" fmla="*/ 3400240 w 10020924"/>
              <a:gd name="connsiteY73" fmla="*/ 1281756 h 2041903"/>
              <a:gd name="connsiteX74" fmla="*/ 3406134 w 10020924"/>
              <a:gd name="connsiteY74" fmla="*/ 1255736 h 2041903"/>
              <a:gd name="connsiteX75" fmla="*/ 3402657 w 10020924"/>
              <a:gd name="connsiteY75" fmla="*/ 1123946 h 2041903"/>
              <a:gd name="connsiteX76" fmla="*/ 3402657 w 10020924"/>
              <a:gd name="connsiteY76" fmla="*/ 463522 h 2041903"/>
              <a:gd name="connsiteX77" fmla="*/ 3639813 w 10020924"/>
              <a:gd name="connsiteY77" fmla="*/ 463522 h 2041903"/>
              <a:gd name="connsiteX78" fmla="*/ 3639813 w 10020924"/>
              <a:gd name="connsiteY78" fmla="*/ 1255333 h 2041903"/>
              <a:gd name="connsiteX79" fmla="*/ 3425426 w 10020924"/>
              <a:gd name="connsiteY79" fmla="*/ 1534727 h 2041903"/>
              <a:gd name="connsiteX80" fmla="*/ 3219125 w 10020924"/>
              <a:gd name="connsiteY80" fmla="*/ 1413949 h 2041903"/>
              <a:gd name="connsiteX81" fmla="*/ 2853165 w 10020924"/>
              <a:gd name="connsiteY81" fmla="*/ 716135 h 2041903"/>
              <a:gd name="connsiteX82" fmla="*/ 2834887 w 10020924"/>
              <a:gd name="connsiteY82" fmla="*/ 704930 h 2041903"/>
              <a:gd name="connsiteX83" fmla="*/ 2829009 w 10020924"/>
              <a:gd name="connsiteY83" fmla="*/ 730980 h 2041903"/>
              <a:gd name="connsiteX84" fmla="*/ 2832590 w 10020924"/>
              <a:gd name="connsiteY84" fmla="*/ 862725 h 2041903"/>
              <a:gd name="connsiteX85" fmla="*/ 2832590 w 10020924"/>
              <a:gd name="connsiteY85" fmla="*/ 1523194 h 2041903"/>
              <a:gd name="connsiteX86" fmla="*/ 2595360 w 10020924"/>
              <a:gd name="connsiteY86" fmla="*/ 1523194 h 2041903"/>
              <a:gd name="connsiteX87" fmla="*/ 2595360 w 10020924"/>
              <a:gd name="connsiteY87" fmla="*/ 731368 h 2041903"/>
              <a:gd name="connsiteX88" fmla="*/ 2809822 w 10020924"/>
              <a:gd name="connsiteY88" fmla="*/ 452019 h 2041903"/>
              <a:gd name="connsiteX89" fmla="*/ 1079247 w 10020924"/>
              <a:gd name="connsiteY89" fmla="*/ 330967 h 2041903"/>
              <a:gd name="connsiteX90" fmla="*/ 952084 w 10020924"/>
              <a:gd name="connsiteY90" fmla="*/ 465588 h 2041903"/>
              <a:gd name="connsiteX91" fmla="*/ 887125 w 10020924"/>
              <a:gd name="connsiteY91" fmla="*/ 684091 h 2041903"/>
              <a:gd name="connsiteX92" fmla="*/ 940315 w 10020924"/>
              <a:gd name="connsiteY92" fmla="*/ 833769 h 2041903"/>
              <a:gd name="connsiteX93" fmla="*/ 1079206 w 10020924"/>
              <a:gd name="connsiteY93" fmla="*/ 894946 h 2041903"/>
              <a:gd name="connsiteX94" fmla="*/ 1218097 w 10020924"/>
              <a:gd name="connsiteY94" fmla="*/ 833769 h 2041903"/>
              <a:gd name="connsiteX95" fmla="*/ 1271286 w 10020924"/>
              <a:gd name="connsiteY95" fmla="*/ 684091 h 2041903"/>
              <a:gd name="connsiteX96" fmla="*/ 1206328 w 10020924"/>
              <a:gd name="connsiteY96" fmla="*/ 465588 h 2041903"/>
              <a:gd name="connsiteX97" fmla="*/ 1079247 w 10020924"/>
              <a:gd name="connsiteY97" fmla="*/ 330967 h 2041903"/>
              <a:gd name="connsiteX98" fmla="*/ 805966 w 10020924"/>
              <a:gd name="connsiteY98" fmla="*/ 263259 h 2041903"/>
              <a:gd name="connsiteX99" fmla="*/ 446364 w 10020924"/>
              <a:gd name="connsiteY99" fmla="*/ 449558 h 2041903"/>
              <a:gd name="connsiteX100" fmla="*/ 316290 w 10020924"/>
              <a:gd name="connsiteY100" fmla="*/ 671430 h 2041903"/>
              <a:gd name="connsiteX101" fmla="*/ 265280 w 10020924"/>
              <a:gd name="connsiteY101" fmla="*/ 958605 h 2041903"/>
              <a:gd name="connsiteX102" fmla="*/ 329833 w 10020924"/>
              <a:gd name="connsiteY102" fmla="*/ 1280240 h 2041903"/>
              <a:gd name="connsiteX103" fmla="*/ 505249 w 10020924"/>
              <a:gd name="connsiteY103" fmla="*/ 1539802 h 2041903"/>
              <a:gd name="connsiteX104" fmla="*/ 764163 w 10020924"/>
              <a:gd name="connsiteY104" fmla="*/ 1713204 h 2041903"/>
              <a:gd name="connsiteX105" fmla="*/ 1079208 w 10020924"/>
              <a:gd name="connsiteY105" fmla="*/ 1776358 h 2041903"/>
              <a:gd name="connsiteX106" fmla="*/ 1394254 w 10020924"/>
              <a:gd name="connsiteY106" fmla="*/ 1713204 h 2041903"/>
              <a:gd name="connsiteX107" fmla="*/ 1653167 w 10020924"/>
              <a:gd name="connsiteY107" fmla="*/ 1539802 h 2041903"/>
              <a:gd name="connsiteX108" fmla="*/ 1828584 w 10020924"/>
              <a:gd name="connsiteY108" fmla="*/ 1280240 h 2041903"/>
              <a:gd name="connsiteX109" fmla="*/ 1893137 w 10020924"/>
              <a:gd name="connsiteY109" fmla="*/ 958605 h 2041903"/>
              <a:gd name="connsiteX110" fmla="*/ 1843297 w 10020924"/>
              <a:gd name="connsiteY110" fmla="*/ 674433 h 2041903"/>
              <a:gd name="connsiteX111" fmla="*/ 1715171 w 10020924"/>
              <a:gd name="connsiteY111" fmla="*/ 452650 h 2041903"/>
              <a:gd name="connsiteX112" fmla="*/ 1352451 w 10020924"/>
              <a:gd name="connsiteY112" fmla="*/ 263259 h 2041903"/>
              <a:gd name="connsiteX113" fmla="*/ 1489332 w 10020924"/>
              <a:gd name="connsiteY113" fmla="*/ 469668 h 2041903"/>
              <a:gd name="connsiteX114" fmla="*/ 1533501 w 10020924"/>
              <a:gd name="connsiteY114" fmla="*/ 697463 h 2041903"/>
              <a:gd name="connsiteX115" fmla="*/ 1395669 w 10020924"/>
              <a:gd name="connsiteY115" fmla="*/ 1031243 h 2041903"/>
              <a:gd name="connsiteX116" fmla="*/ 1079208 w 10020924"/>
              <a:gd name="connsiteY116" fmla="*/ 1160853 h 2041903"/>
              <a:gd name="connsiteX117" fmla="*/ 762748 w 10020924"/>
              <a:gd name="connsiteY117" fmla="*/ 1031243 h 2041903"/>
              <a:gd name="connsiteX118" fmla="*/ 624916 w 10020924"/>
              <a:gd name="connsiteY118" fmla="*/ 697463 h 2041903"/>
              <a:gd name="connsiteX119" fmla="*/ 673201 w 10020924"/>
              <a:gd name="connsiteY119" fmla="*/ 463015 h 2041903"/>
              <a:gd name="connsiteX120" fmla="*/ 805966 w 10020924"/>
              <a:gd name="connsiteY120" fmla="*/ 263259 h 2041903"/>
              <a:gd name="connsiteX121" fmla="*/ 817834 w 10020924"/>
              <a:gd name="connsiteY121" fmla="*/ 0 h 2041903"/>
              <a:gd name="connsiteX122" fmla="*/ 963091 w 10020924"/>
              <a:gd name="connsiteY122" fmla="*/ 14770 h 2041903"/>
              <a:gd name="connsiteX123" fmla="*/ 1079167 w 10020924"/>
              <a:gd name="connsiteY123" fmla="*/ 48893 h 2041903"/>
              <a:gd name="connsiteX124" fmla="*/ 1194646 w 10020924"/>
              <a:gd name="connsiteY124" fmla="*/ 14436 h 2041903"/>
              <a:gd name="connsiteX125" fmla="*/ 1340583 w 10020924"/>
              <a:gd name="connsiteY125" fmla="*/ 0 h 2041903"/>
              <a:gd name="connsiteX126" fmla="*/ 1649693 w 10020924"/>
              <a:gd name="connsiteY126" fmla="*/ 72213 h 2041903"/>
              <a:gd name="connsiteX127" fmla="*/ 1910677 w 10020924"/>
              <a:gd name="connsiteY127" fmla="*/ 272891 h 2041903"/>
              <a:gd name="connsiteX128" fmla="*/ 2091072 w 10020924"/>
              <a:gd name="connsiteY128" fmla="*/ 578096 h 2041903"/>
              <a:gd name="connsiteX129" fmla="*/ 2158417 w 10020924"/>
              <a:gd name="connsiteY129" fmla="*/ 963886 h 2041903"/>
              <a:gd name="connsiteX130" fmla="*/ 2071704 w 10020924"/>
              <a:gd name="connsiteY130" fmla="*/ 1388805 h 2041903"/>
              <a:gd name="connsiteX131" fmla="*/ 1837251 w 10020924"/>
              <a:gd name="connsiteY131" fmla="*/ 1730875 h 2041903"/>
              <a:gd name="connsiteX132" fmla="*/ 1493585 w 10020924"/>
              <a:gd name="connsiteY132" fmla="*/ 1958956 h 2041903"/>
              <a:gd name="connsiteX133" fmla="*/ 1079208 w 10020924"/>
              <a:gd name="connsiteY133" fmla="*/ 2041903 h 2041903"/>
              <a:gd name="connsiteX134" fmla="*/ 664832 w 10020924"/>
              <a:gd name="connsiteY134" fmla="*/ 1958956 h 2041903"/>
              <a:gd name="connsiteX135" fmla="*/ 321166 w 10020924"/>
              <a:gd name="connsiteY135" fmla="*/ 1730875 h 2041903"/>
              <a:gd name="connsiteX136" fmla="*/ 86713 w 10020924"/>
              <a:gd name="connsiteY136" fmla="*/ 1388805 h 2041903"/>
              <a:gd name="connsiteX137" fmla="*/ 0 w 10020924"/>
              <a:gd name="connsiteY137" fmla="*/ 963886 h 2041903"/>
              <a:gd name="connsiteX138" fmla="*/ 67345 w 10020924"/>
              <a:gd name="connsiteY138" fmla="*/ 578096 h 2041903"/>
              <a:gd name="connsiteX139" fmla="*/ 247740 w 10020924"/>
              <a:gd name="connsiteY139" fmla="*/ 272891 h 2041903"/>
              <a:gd name="connsiteX140" fmla="*/ 508723 w 10020924"/>
              <a:gd name="connsiteY140" fmla="*/ 72213 h 2041903"/>
              <a:gd name="connsiteX141" fmla="*/ 817834 w 10020924"/>
              <a:gd name="connsiteY141" fmla="*/ 0 h 2041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0020924" h="2041903">
                <a:moveTo>
                  <a:pt x="9329240" y="1080290"/>
                </a:moveTo>
                <a:cubicBezTo>
                  <a:pt x="9292358" y="1080290"/>
                  <a:pt x="9251983" y="1096116"/>
                  <a:pt x="9251983" y="1187029"/>
                </a:cubicBezTo>
                <a:cubicBezTo>
                  <a:pt x="9251983" y="1277880"/>
                  <a:pt x="9292801" y="1296468"/>
                  <a:pt x="9329240" y="1296468"/>
                </a:cubicBezTo>
                <a:lnTo>
                  <a:pt x="9782722" y="1296468"/>
                </a:lnTo>
                <a:lnTo>
                  <a:pt x="9782722" y="1080290"/>
                </a:lnTo>
                <a:close/>
                <a:moveTo>
                  <a:pt x="7331825" y="1080290"/>
                </a:moveTo>
                <a:cubicBezTo>
                  <a:pt x="7294927" y="1080290"/>
                  <a:pt x="7254583" y="1096116"/>
                  <a:pt x="7254583" y="1187029"/>
                </a:cubicBezTo>
                <a:cubicBezTo>
                  <a:pt x="7254583" y="1277880"/>
                  <a:pt x="7295379" y="1296468"/>
                  <a:pt x="7331825" y="1296468"/>
                </a:cubicBezTo>
                <a:lnTo>
                  <a:pt x="7785307" y="1296468"/>
                </a:lnTo>
                <a:lnTo>
                  <a:pt x="7785307" y="1080290"/>
                </a:lnTo>
                <a:close/>
                <a:moveTo>
                  <a:pt x="6171264" y="689323"/>
                </a:moveTo>
                <a:lnTo>
                  <a:pt x="6171264" y="1297318"/>
                </a:lnTo>
                <a:lnTo>
                  <a:pt x="6558679" y="1297318"/>
                </a:lnTo>
                <a:cubicBezTo>
                  <a:pt x="6645146" y="1297318"/>
                  <a:pt x="6679368" y="1257837"/>
                  <a:pt x="6679368" y="1156413"/>
                </a:cubicBezTo>
                <a:lnTo>
                  <a:pt x="6679368" y="830244"/>
                </a:lnTo>
                <a:cubicBezTo>
                  <a:pt x="6679368" y="728827"/>
                  <a:pt x="6645146" y="689323"/>
                  <a:pt x="6558679" y="689323"/>
                </a:cubicBezTo>
                <a:close/>
                <a:moveTo>
                  <a:pt x="9072763" y="463851"/>
                </a:moveTo>
                <a:lnTo>
                  <a:pt x="9678449" y="463851"/>
                </a:lnTo>
                <a:cubicBezTo>
                  <a:pt x="9932730" y="463851"/>
                  <a:pt x="10020924" y="559816"/>
                  <a:pt x="10020924" y="826574"/>
                </a:cubicBezTo>
                <a:lnTo>
                  <a:pt x="10020924" y="1522671"/>
                </a:lnTo>
                <a:lnTo>
                  <a:pt x="9304207" y="1522671"/>
                </a:lnTo>
                <a:cubicBezTo>
                  <a:pt x="9111641" y="1522671"/>
                  <a:pt x="9015771" y="1435849"/>
                  <a:pt x="9015771" y="1219793"/>
                </a:cubicBezTo>
                <a:lnTo>
                  <a:pt x="9015771" y="1169781"/>
                </a:lnTo>
                <a:cubicBezTo>
                  <a:pt x="9015771" y="959714"/>
                  <a:pt x="9108248" y="866738"/>
                  <a:pt x="9294061" y="866738"/>
                </a:cubicBezTo>
                <a:lnTo>
                  <a:pt x="9782829" y="866738"/>
                </a:lnTo>
                <a:cubicBezTo>
                  <a:pt x="9782829" y="858122"/>
                  <a:pt x="9782707" y="829861"/>
                  <a:pt x="9782707" y="829349"/>
                </a:cubicBezTo>
                <a:cubicBezTo>
                  <a:pt x="9782707" y="727955"/>
                  <a:pt x="9749047" y="688428"/>
                  <a:pt x="9662481" y="688428"/>
                </a:cubicBezTo>
                <a:lnTo>
                  <a:pt x="9072763" y="688428"/>
                </a:lnTo>
                <a:close/>
                <a:moveTo>
                  <a:pt x="8071817" y="463851"/>
                </a:moveTo>
                <a:lnTo>
                  <a:pt x="8991911" y="463851"/>
                </a:lnTo>
                <a:lnTo>
                  <a:pt x="8991911" y="686668"/>
                </a:lnTo>
                <a:lnTo>
                  <a:pt x="8652240" y="686668"/>
                </a:lnTo>
                <a:lnTo>
                  <a:pt x="8652240" y="1522955"/>
                </a:lnTo>
                <a:lnTo>
                  <a:pt x="8411534" y="1522955"/>
                </a:lnTo>
                <a:lnTo>
                  <a:pt x="8411534" y="686668"/>
                </a:lnTo>
                <a:lnTo>
                  <a:pt x="8071817" y="686668"/>
                </a:lnTo>
                <a:close/>
                <a:moveTo>
                  <a:pt x="7075333" y="463851"/>
                </a:moveTo>
                <a:lnTo>
                  <a:pt x="7681075" y="463851"/>
                </a:lnTo>
                <a:cubicBezTo>
                  <a:pt x="7935303" y="463851"/>
                  <a:pt x="8023424" y="559816"/>
                  <a:pt x="8023417" y="826574"/>
                </a:cubicBezTo>
                <a:lnTo>
                  <a:pt x="8023417" y="1522671"/>
                </a:lnTo>
                <a:lnTo>
                  <a:pt x="7306759" y="1522671"/>
                </a:lnTo>
                <a:cubicBezTo>
                  <a:pt x="7114170" y="1522671"/>
                  <a:pt x="7018293" y="1435849"/>
                  <a:pt x="7018293" y="1219793"/>
                </a:cubicBezTo>
                <a:lnTo>
                  <a:pt x="7018293" y="1169781"/>
                </a:lnTo>
                <a:cubicBezTo>
                  <a:pt x="7018293" y="959714"/>
                  <a:pt x="7110792" y="866738"/>
                  <a:pt x="7296628" y="866738"/>
                </a:cubicBezTo>
                <a:lnTo>
                  <a:pt x="7785307" y="866738"/>
                </a:lnTo>
                <a:lnTo>
                  <a:pt x="7785307" y="829349"/>
                </a:lnTo>
                <a:cubicBezTo>
                  <a:pt x="7785307" y="727955"/>
                  <a:pt x="7751547" y="688428"/>
                  <a:pt x="7665080" y="688428"/>
                </a:cubicBezTo>
                <a:lnTo>
                  <a:pt x="7075333" y="688428"/>
                </a:lnTo>
                <a:close/>
                <a:moveTo>
                  <a:pt x="5930572" y="463851"/>
                </a:moveTo>
                <a:lnTo>
                  <a:pt x="6574718" y="463851"/>
                </a:lnTo>
                <a:cubicBezTo>
                  <a:pt x="6817412" y="463851"/>
                  <a:pt x="6925013" y="557409"/>
                  <a:pt x="6925013" y="834884"/>
                </a:cubicBezTo>
                <a:lnTo>
                  <a:pt x="6925013" y="1151743"/>
                </a:lnTo>
                <a:cubicBezTo>
                  <a:pt x="6925013" y="1394650"/>
                  <a:pt x="6843589" y="1522671"/>
                  <a:pt x="6585968" y="1522671"/>
                </a:cubicBezTo>
                <a:lnTo>
                  <a:pt x="5930572" y="1522671"/>
                </a:lnTo>
                <a:close/>
                <a:moveTo>
                  <a:pt x="4717895" y="463851"/>
                </a:moveTo>
                <a:lnTo>
                  <a:pt x="5638093" y="463851"/>
                </a:lnTo>
                <a:lnTo>
                  <a:pt x="5638093" y="686668"/>
                </a:lnTo>
                <a:lnTo>
                  <a:pt x="5298318" y="686668"/>
                </a:lnTo>
                <a:lnTo>
                  <a:pt x="5298318" y="1522955"/>
                </a:lnTo>
                <a:lnTo>
                  <a:pt x="5057626" y="1522955"/>
                </a:lnTo>
                <a:lnTo>
                  <a:pt x="5057626" y="686668"/>
                </a:lnTo>
                <a:lnTo>
                  <a:pt x="4717895" y="686668"/>
                </a:lnTo>
                <a:close/>
                <a:moveTo>
                  <a:pt x="3721291" y="463851"/>
                </a:moveTo>
                <a:lnTo>
                  <a:pt x="4641430" y="463851"/>
                </a:lnTo>
                <a:lnTo>
                  <a:pt x="4641430" y="686668"/>
                </a:lnTo>
                <a:lnTo>
                  <a:pt x="4301654" y="686668"/>
                </a:lnTo>
                <a:lnTo>
                  <a:pt x="4301654" y="1522955"/>
                </a:lnTo>
                <a:lnTo>
                  <a:pt x="4061067" y="1522955"/>
                </a:lnTo>
                <a:lnTo>
                  <a:pt x="4061067" y="686668"/>
                </a:lnTo>
                <a:lnTo>
                  <a:pt x="3721291" y="686668"/>
                </a:lnTo>
                <a:close/>
                <a:moveTo>
                  <a:pt x="2809822" y="452019"/>
                </a:moveTo>
                <a:cubicBezTo>
                  <a:pt x="2915562" y="452019"/>
                  <a:pt x="2970732" y="501487"/>
                  <a:pt x="3016077" y="572753"/>
                </a:cubicBezTo>
                <a:cubicBezTo>
                  <a:pt x="3055320" y="634446"/>
                  <a:pt x="3376830" y="1260842"/>
                  <a:pt x="3381948" y="1270566"/>
                </a:cubicBezTo>
                <a:cubicBezTo>
                  <a:pt x="3386677" y="1279328"/>
                  <a:pt x="3393442" y="1285729"/>
                  <a:pt x="3400240" y="1281756"/>
                </a:cubicBezTo>
                <a:cubicBezTo>
                  <a:pt x="3406237" y="1278349"/>
                  <a:pt x="3406646" y="1267378"/>
                  <a:pt x="3406134" y="1255736"/>
                </a:cubicBezTo>
                <a:cubicBezTo>
                  <a:pt x="3405492" y="1241619"/>
                  <a:pt x="3402657" y="1171378"/>
                  <a:pt x="3402657" y="1123946"/>
                </a:cubicBezTo>
                <a:lnTo>
                  <a:pt x="3402657" y="463522"/>
                </a:lnTo>
                <a:lnTo>
                  <a:pt x="3639813" y="463522"/>
                </a:lnTo>
                <a:lnTo>
                  <a:pt x="3639813" y="1255333"/>
                </a:lnTo>
                <a:cubicBezTo>
                  <a:pt x="3639813" y="1491113"/>
                  <a:pt x="3523557" y="1534727"/>
                  <a:pt x="3425426" y="1534727"/>
                </a:cubicBezTo>
                <a:cubicBezTo>
                  <a:pt x="3319670" y="1534727"/>
                  <a:pt x="3264509" y="1485221"/>
                  <a:pt x="3219125" y="1413949"/>
                </a:cubicBezTo>
                <a:cubicBezTo>
                  <a:pt x="3155813" y="1314503"/>
                  <a:pt x="2857763" y="724966"/>
                  <a:pt x="2853165" y="716135"/>
                </a:cubicBezTo>
                <a:cubicBezTo>
                  <a:pt x="2848558" y="707335"/>
                  <a:pt x="2841793" y="701034"/>
                  <a:pt x="2834887" y="704930"/>
                </a:cubicBezTo>
                <a:cubicBezTo>
                  <a:pt x="2829005" y="708344"/>
                  <a:pt x="2828497" y="719338"/>
                  <a:pt x="2829009" y="730980"/>
                </a:cubicBezTo>
                <a:cubicBezTo>
                  <a:pt x="2829628" y="745090"/>
                  <a:pt x="2832590" y="815378"/>
                  <a:pt x="2832590" y="862725"/>
                </a:cubicBezTo>
                <a:lnTo>
                  <a:pt x="2832590" y="1523194"/>
                </a:lnTo>
                <a:lnTo>
                  <a:pt x="2595360" y="1523194"/>
                </a:lnTo>
                <a:lnTo>
                  <a:pt x="2595360" y="731368"/>
                </a:lnTo>
                <a:cubicBezTo>
                  <a:pt x="2595360" y="495611"/>
                  <a:pt x="2711606" y="452019"/>
                  <a:pt x="2809822" y="452019"/>
                </a:cubicBezTo>
                <a:close/>
                <a:moveTo>
                  <a:pt x="1079247" y="330967"/>
                </a:moveTo>
                <a:cubicBezTo>
                  <a:pt x="1039101" y="354484"/>
                  <a:pt x="989740" y="403598"/>
                  <a:pt x="952084" y="465588"/>
                </a:cubicBezTo>
                <a:cubicBezTo>
                  <a:pt x="914427" y="527577"/>
                  <a:pt x="887125" y="603548"/>
                  <a:pt x="887125" y="684091"/>
                </a:cubicBezTo>
                <a:cubicBezTo>
                  <a:pt x="887125" y="743091"/>
                  <a:pt x="906578" y="795805"/>
                  <a:pt x="940315" y="833769"/>
                </a:cubicBezTo>
                <a:cubicBezTo>
                  <a:pt x="974052" y="871732"/>
                  <a:pt x="1022072" y="894946"/>
                  <a:pt x="1079206" y="894946"/>
                </a:cubicBezTo>
                <a:cubicBezTo>
                  <a:pt x="1136340" y="894946"/>
                  <a:pt x="1184360" y="871732"/>
                  <a:pt x="1218097" y="833769"/>
                </a:cubicBezTo>
                <a:cubicBezTo>
                  <a:pt x="1251833" y="795805"/>
                  <a:pt x="1271286" y="743091"/>
                  <a:pt x="1271286" y="684091"/>
                </a:cubicBezTo>
                <a:cubicBezTo>
                  <a:pt x="1271286" y="603548"/>
                  <a:pt x="1243984" y="527577"/>
                  <a:pt x="1206328" y="465588"/>
                </a:cubicBezTo>
                <a:cubicBezTo>
                  <a:pt x="1168672" y="403598"/>
                  <a:pt x="1110735" y="347874"/>
                  <a:pt x="1079247" y="330967"/>
                </a:cubicBezTo>
                <a:close/>
                <a:moveTo>
                  <a:pt x="805966" y="263259"/>
                </a:moveTo>
                <a:cubicBezTo>
                  <a:pt x="686954" y="257894"/>
                  <a:pt x="551782" y="326830"/>
                  <a:pt x="446364" y="449558"/>
                </a:cubicBezTo>
                <a:cubicBezTo>
                  <a:pt x="393654" y="510922"/>
                  <a:pt x="348383" y="585734"/>
                  <a:pt x="316290" y="671430"/>
                </a:cubicBezTo>
                <a:cubicBezTo>
                  <a:pt x="284196" y="757125"/>
                  <a:pt x="265280" y="853705"/>
                  <a:pt x="265280" y="958605"/>
                </a:cubicBezTo>
                <a:cubicBezTo>
                  <a:pt x="265280" y="1073486"/>
                  <a:pt x="288318" y="1182036"/>
                  <a:pt x="329833" y="1280240"/>
                </a:cubicBezTo>
                <a:cubicBezTo>
                  <a:pt x="371348" y="1378444"/>
                  <a:pt x="431341" y="1466303"/>
                  <a:pt x="505249" y="1539802"/>
                </a:cubicBezTo>
                <a:cubicBezTo>
                  <a:pt x="579158" y="1613301"/>
                  <a:pt x="666983" y="1672440"/>
                  <a:pt x="764163" y="1713204"/>
                </a:cubicBezTo>
                <a:cubicBezTo>
                  <a:pt x="861343" y="1753969"/>
                  <a:pt x="967878" y="1776358"/>
                  <a:pt x="1079208" y="1776358"/>
                </a:cubicBezTo>
                <a:cubicBezTo>
                  <a:pt x="1190538" y="1776358"/>
                  <a:pt x="1297074" y="1753969"/>
                  <a:pt x="1394254" y="1713204"/>
                </a:cubicBezTo>
                <a:cubicBezTo>
                  <a:pt x="1491434" y="1672440"/>
                  <a:pt x="1579259" y="1613301"/>
                  <a:pt x="1653167" y="1539802"/>
                </a:cubicBezTo>
                <a:cubicBezTo>
                  <a:pt x="1727076" y="1466303"/>
                  <a:pt x="1787068" y="1378444"/>
                  <a:pt x="1828584" y="1280240"/>
                </a:cubicBezTo>
                <a:cubicBezTo>
                  <a:pt x="1870099" y="1182036"/>
                  <a:pt x="1893137" y="1073486"/>
                  <a:pt x="1893137" y="958605"/>
                </a:cubicBezTo>
                <a:cubicBezTo>
                  <a:pt x="1893137" y="855344"/>
                  <a:pt x="1874740" y="759689"/>
                  <a:pt x="1843297" y="674433"/>
                </a:cubicBezTo>
                <a:cubicBezTo>
                  <a:pt x="1811852" y="589176"/>
                  <a:pt x="1767361" y="514318"/>
                  <a:pt x="1715171" y="452650"/>
                </a:cubicBezTo>
                <a:cubicBezTo>
                  <a:pt x="1610792" y="329313"/>
                  <a:pt x="1475621" y="258738"/>
                  <a:pt x="1352451" y="263259"/>
                </a:cubicBezTo>
                <a:cubicBezTo>
                  <a:pt x="1412945" y="322179"/>
                  <a:pt x="1458865" y="394141"/>
                  <a:pt x="1489332" y="469668"/>
                </a:cubicBezTo>
                <a:cubicBezTo>
                  <a:pt x="1519800" y="545194"/>
                  <a:pt x="1534815" y="624285"/>
                  <a:pt x="1533501" y="697463"/>
                </a:cubicBezTo>
                <a:cubicBezTo>
                  <a:pt x="1533501" y="833577"/>
                  <a:pt x="1479467" y="949424"/>
                  <a:pt x="1395669" y="1031243"/>
                </a:cubicBezTo>
                <a:cubicBezTo>
                  <a:pt x="1311871" y="1113062"/>
                  <a:pt x="1198308" y="1160853"/>
                  <a:pt x="1079208" y="1160853"/>
                </a:cubicBezTo>
                <a:cubicBezTo>
                  <a:pt x="960109" y="1160853"/>
                  <a:pt x="846546" y="1113062"/>
                  <a:pt x="762748" y="1031243"/>
                </a:cubicBezTo>
                <a:cubicBezTo>
                  <a:pt x="678950" y="949424"/>
                  <a:pt x="624916" y="833577"/>
                  <a:pt x="624916" y="697463"/>
                </a:cubicBezTo>
                <a:cubicBezTo>
                  <a:pt x="624916" y="618236"/>
                  <a:pt x="642018" y="537734"/>
                  <a:pt x="673201" y="463015"/>
                </a:cubicBezTo>
                <a:cubicBezTo>
                  <a:pt x="704383" y="388296"/>
                  <a:pt x="749646" y="319359"/>
                  <a:pt x="805966" y="263259"/>
                </a:cubicBezTo>
                <a:close/>
                <a:moveTo>
                  <a:pt x="817834" y="0"/>
                </a:moveTo>
                <a:cubicBezTo>
                  <a:pt x="866589" y="0"/>
                  <a:pt x="917272" y="5772"/>
                  <a:pt x="963091" y="14770"/>
                </a:cubicBezTo>
                <a:cubicBezTo>
                  <a:pt x="1008909" y="23768"/>
                  <a:pt x="1049865" y="35991"/>
                  <a:pt x="1079167" y="48893"/>
                </a:cubicBezTo>
                <a:cubicBezTo>
                  <a:pt x="1107617" y="35545"/>
                  <a:pt x="1148593" y="23322"/>
                  <a:pt x="1194646" y="14436"/>
                </a:cubicBezTo>
                <a:cubicBezTo>
                  <a:pt x="1240699" y="5549"/>
                  <a:pt x="1291827" y="0"/>
                  <a:pt x="1340583" y="0"/>
                </a:cubicBezTo>
                <a:cubicBezTo>
                  <a:pt x="1448034" y="0"/>
                  <a:pt x="1552874" y="25401"/>
                  <a:pt x="1649693" y="72213"/>
                </a:cubicBezTo>
                <a:cubicBezTo>
                  <a:pt x="1746513" y="119025"/>
                  <a:pt x="1835310" y="187248"/>
                  <a:pt x="1910677" y="272891"/>
                </a:cubicBezTo>
                <a:cubicBezTo>
                  <a:pt x="1986043" y="358535"/>
                  <a:pt x="2047978" y="461600"/>
                  <a:pt x="2091072" y="578096"/>
                </a:cubicBezTo>
                <a:cubicBezTo>
                  <a:pt x="2134165" y="694592"/>
                  <a:pt x="2158417" y="824518"/>
                  <a:pt x="2158417" y="963886"/>
                </a:cubicBezTo>
                <a:cubicBezTo>
                  <a:pt x="2158417" y="1115873"/>
                  <a:pt x="2127372" y="1259243"/>
                  <a:pt x="2071704" y="1388805"/>
                </a:cubicBezTo>
                <a:cubicBezTo>
                  <a:pt x="2016036" y="1518366"/>
                  <a:pt x="1935744" y="1634120"/>
                  <a:pt x="1837251" y="1730875"/>
                </a:cubicBezTo>
                <a:cubicBezTo>
                  <a:pt x="1738759" y="1827631"/>
                  <a:pt x="1622064" y="1905388"/>
                  <a:pt x="1493585" y="1958956"/>
                </a:cubicBezTo>
                <a:cubicBezTo>
                  <a:pt x="1365105" y="2012524"/>
                  <a:pt x="1224841" y="2041903"/>
                  <a:pt x="1079208" y="2041903"/>
                </a:cubicBezTo>
                <a:cubicBezTo>
                  <a:pt x="933576" y="2041903"/>
                  <a:pt x="793312" y="2012524"/>
                  <a:pt x="664832" y="1958956"/>
                </a:cubicBezTo>
                <a:cubicBezTo>
                  <a:pt x="536353" y="1905388"/>
                  <a:pt x="419658" y="1827631"/>
                  <a:pt x="321166" y="1730875"/>
                </a:cubicBezTo>
                <a:cubicBezTo>
                  <a:pt x="222673" y="1634120"/>
                  <a:pt x="142381" y="1518366"/>
                  <a:pt x="86713" y="1388805"/>
                </a:cubicBezTo>
                <a:cubicBezTo>
                  <a:pt x="31045" y="1259243"/>
                  <a:pt x="0" y="1115873"/>
                  <a:pt x="0" y="963886"/>
                </a:cubicBezTo>
                <a:cubicBezTo>
                  <a:pt x="0" y="824518"/>
                  <a:pt x="24252" y="694592"/>
                  <a:pt x="67345" y="578096"/>
                </a:cubicBezTo>
                <a:cubicBezTo>
                  <a:pt x="110439" y="461600"/>
                  <a:pt x="172374" y="358535"/>
                  <a:pt x="247740" y="272891"/>
                </a:cubicBezTo>
                <a:cubicBezTo>
                  <a:pt x="323106" y="187248"/>
                  <a:pt x="411904" y="119025"/>
                  <a:pt x="508723" y="72213"/>
                </a:cubicBezTo>
                <a:cubicBezTo>
                  <a:pt x="605542" y="25401"/>
                  <a:pt x="710382" y="0"/>
                  <a:pt x="817834" y="0"/>
                </a:cubicBezTo>
                <a:close/>
              </a:path>
            </a:pathLst>
          </a:custGeom>
          <a:solidFill>
            <a:srgbClr val="0072BC"/>
          </a:solidFill>
          <a:ln w="763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30919A-842B-324C-CCDA-7945A8CEB2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62600" y="6400800"/>
            <a:ext cx="1066800" cy="304800"/>
          </a:xfrm>
          <a:prstGeom prst="rect">
            <a:avLst/>
          </a:prstGeom>
          <a:ln w="3175">
            <a:noFill/>
          </a:ln>
        </p:spPr>
        <p:txBody>
          <a:bodyPr anchor="ctr"/>
          <a:lstStyle>
            <a:lvl1pPr algn="ctr">
              <a:defRPr lang="en-US" sz="800" smtClean="0">
                <a:solidFill>
                  <a:schemeClr val="bg1"/>
                </a:solidFill>
              </a:defRPr>
            </a:lvl1pPr>
          </a:lstStyle>
          <a:p>
            <a:fld id="{60D39823-8059-4D49-BD26-6D32C31B8621}" type="slidenum">
              <a:rPr lang="en-SG" smtClean="0"/>
              <a:pPr/>
              <a:t>‹Nº›</a:t>
            </a:fld>
            <a:endParaRPr lang="en-SG"/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6B352186-586D-2B62-4B50-9AF425919284}"/>
              </a:ext>
            </a:extLst>
          </p:cNvPr>
          <p:cNvSpPr txBox="1">
            <a:spLocks/>
          </p:cNvSpPr>
          <p:nvPr/>
        </p:nvSpPr>
        <p:spPr>
          <a:xfrm>
            <a:off x="1371600" y="6400800"/>
            <a:ext cx="4114800" cy="304800"/>
          </a:xfrm>
          <a:prstGeom prst="rect">
            <a:avLst/>
          </a:prstGeom>
        </p:spPr>
        <p:txBody>
          <a:bodyPr lIns="0" rIns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SG" sz="800">
                <a:solidFill>
                  <a:schemeClr val="bg1"/>
                </a:solidFill>
              </a:rPr>
              <a:t>© 2024 NTT DATA, Inc.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8" name="Date">
            <a:extLst>
              <a:ext uri="{FF2B5EF4-FFF2-40B4-BE49-F238E27FC236}">
                <a16:creationId xmlns:a16="http://schemas.microsoft.com/office/drawing/2014/main" id="{1A23659C-C1BE-63E9-B174-996096D0A97E}"/>
              </a:ext>
            </a:extLst>
          </p:cNvPr>
          <p:cNvSpPr txBox="1">
            <a:spLocks/>
          </p:cNvSpPr>
          <p:nvPr/>
        </p:nvSpPr>
        <p:spPr>
          <a:xfrm>
            <a:off x="381000" y="6400800"/>
            <a:ext cx="914400" cy="304800"/>
          </a:xfrm>
          <a:prstGeom prst="rect">
            <a:avLst/>
          </a:prstGeom>
        </p:spPr>
        <p:txBody>
          <a:bodyPr lIns="0" rIns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SG" sz="800">
                <a:solidFill>
                  <a:schemeClr val="bg1"/>
                </a:solidFill>
              </a:rPr>
              <a:t>April 2024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126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  <p:sldLayoutId id="2147483962" r:id="rId8"/>
    <p:sldLayoutId id="2147483963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kern="1200" dirty="0">
          <a:solidFill>
            <a:schemeClr val="bg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7013" indent="-227013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98513" indent="-28575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12913" indent="-28575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80.png"/><Relationship Id="rId5" Type="http://schemas.openxmlformats.org/officeDocument/2006/relationships/image" Target="../media/image81.png"/><Relationship Id="rId4" Type="http://schemas.openxmlformats.org/officeDocument/2006/relationships/hyperlink" Target="https://github.com/andresescobarcotan/workshop-expedition-kafka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5.xml"/><Relationship Id="rId5" Type="http://schemas.microsoft.com/office/2007/relationships/hdphoto" Target="../media/hdphoto4.wdp"/><Relationship Id="rId4" Type="http://schemas.openxmlformats.org/officeDocument/2006/relationships/image" Target="../media/image86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5.xml"/><Relationship Id="rId5" Type="http://schemas.microsoft.com/office/2007/relationships/hdphoto" Target="../media/hdphoto4.wdp"/><Relationship Id="rId4" Type="http://schemas.openxmlformats.org/officeDocument/2006/relationships/image" Target="../media/image86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5.xml"/><Relationship Id="rId5" Type="http://schemas.microsoft.com/office/2007/relationships/hdphoto" Target="../media/hdphoto4.wdp"/><Relationship Id="rId4" Type="http://schemas.openxmlformats.org/officeDocument/2006/relationships/image" Target="../media/image86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5.xml"/><Relationship Id="rId5" Type="http://schemas.microsoft.com/office/2007/relationships/hdphoto" Target="../media/hdphoto4.wdp"/><Relationship Id="rId4" Type="http://schemas.openxmlformats.org/officeDocument/2006/relationships/image" Target="../media/image86.pn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5.xml"/><Relationship Id="rId5" Type="http://schemas.microsoft.com/office/2007/relationships/hdphoto" Target="../media/hdphoto4.wdp"/><Relationship Id="rId4" Type="http://schemas.openxmlformats.org/officeDocument/2006/relationships/image" Target="../media/image86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5.xml"/><Relationship Id="rId5" Type="http://schemas.microsoft.com/office/2007/relationships/hdphoto" Target="../media/hdphoto5.wdp"/><Relationship Id="rId4" Type="http://schemas.openxmlformats.org/officeDocument/2006/relationships/image" Target="../media/image87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5.xml"/><Relationship Id="rId5" Type="http://schemas.microsoft.com/office/2007/relationships/hdphoto" Target="../media/hdphoto5.wdp"/><Relationship Id="rId4" Type="http://schemas.openxmlformats.org/officeDocument/2006/relationships/image" Target="../media/image87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5.xml"/><Relationship Id="rId5" Type="http://schemas.microsoft.com/office/2007/relationships/hdphoto" Target="../media/hdphoto5.wdp"/><Relationship Id="rId4" Type="http://schemas.openxmlformats.org/officeDocument/2006/relationships/image" Target="../media/image87.png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5.xml"/><Relationship Id="rId5" Type="http://schemas.microsoft.com/office/2007/relationships/hdphoto" Target="../media/hdphoto5.wdp"/><Relationship Id="rId4" Type="http://schemas.openxmlformats.org/officeDocument/2006/relationships/image" Target="../media/image8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5.xml"/><Relationship Id="rId5" Type="http://schemas.microsoft.com/office/2007/relationships/hdphoto" Target="../media/hdphoto5.wdp"/><Relationship Id="rId4" Type="http://schemas.openxmlformats.org/officeDocument/2006/relationships/image" Target="../media/image8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7.png"/><Relationship Id="rId5" Type="http://schemas.microsoft.com/office/2007/relationships/hdphoto" Target="../media/hdphoto2.wdp"/><Relationship Id="rId4" Type="http://schemas.openxmlformats.org/officeDocument/2006/relationships/image" Target="../media/image7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83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8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Marcador de posición de imagen 11">
            <a:extLst>
              <a:ext uri="{FF2B5EF4-FFF2-40B4-BE49-F238E27FC236}">
                <a16:creationId xmlns:a16="http://schemas.microsoft.com/office/drawing/2014/main" id="{F3C85557-F4AE-24FA-B99E-66BD5766F11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7813" b="7813"/>
          <a:stretch/>
        </p:blipFill>
        <p:spPr>
          <a:xfrm>
            <a:off x="0" y="0"/>
            <a:ext cx="16484600" cy="9272587"/>
          </a:xfr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AE437E77-8502-BFAD-13B6-FF483DF70D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4520151" y="2274750"/>
            <a:ext cx="4793932" cy="1371600"/>
          </a:xfrm>
        </p:spPr>
        <p:txBody>
          <a:bodyPr/>
          <a:lstStyle/>
          <a:p>
            <a:r>
              <a:rPr lang="en-US" b="1" dirty="0"/>
              <a:t>EXPEDICIÓN KAFKA: </a:t>
            </a:r>
            <a:r>
              <a:rPr lang="en-US" b="1" dirty="0" err="1"/>
              <a:t>Pintando</a:t>
            </a:r>
            <a:r>
              <a:rPr lang="en-US" b="1" dirty="0"/>
              <a:t> la </a:t>
            </a:r>
            <a:r>
              <a:rPr lang="en-US" b="1" dirty="0" err="1"/>
              <a:t>arquitectura</a:t>
            </a:r>
            <a:r>
              <a:rPr lang="en-US" b="1" dirty="0"/>
              <a:t> de </a:t>
            </a:r>
            <a:r>
              <a:rPr lang="en-US" b="1" dirty="0" err="1"/>
              <a:t>Eventos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5DFDD5A-8252-29FA-2990-424EEAC9C9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0048" y="3810000"/>
            <a:ext cx="4793932" cy="697050"/>
          </a:xfrm>
        </p:spPr>
        <p:txBody>
          <a:bodyPr/>
          <a:lstStyle/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0769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A9C09-FAE4-16A8-38DF-2715DC0272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 descr="Una calle de noche&#10;&#10;El contenido generado por IA puede ser incorrecto.">
            <a:extLst>
              <a:ext uri="{FF2B5EF4-FFF2-40B4-BE49-F238E27FC236}">
                <a16:creationId xmlns:a16="http://schemas.microsoft.com/office/drawing/2014/main" id="{62E077ED-AAC5-7CC3-8C46-7741E3FE905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68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t="7803" b="7803"/>
          <a:stretch>
            <a:fillRect/>
          </a:stretch>
        </p:blipFill>
        <p:spPr>
          <a:xfrm>
            <a:off x="-11126398" y="62952"/>
            <a:ext cx="23379504" cy="13155268"/>
          </a:xfrm>
        </p:spPr>
      </p:pic>
      <p:sp>
        <p:nvSpPr>
          <p:cNvPr id="8" name="Title 6">
            <a:extLst>
              <a:ext uri="{FF2B5EF4-FFF2-40B4-BE49-F238E27FC236}">
                <a16:creationId xmlns:a16="http://schemas.microsoft.com/office/drawing/2014/main" id="{3438119C-D25C-D7B3-7541-7512642DB47E}"/>
              </a:ext>
            </a:extLst>
          </p:cNvPr>
          <p:cNvSpPr txBox="1">
            <a:spLocks/>
          </p:cNvSpPr>
          <p:nvPr/>
        </p:nvSpPr>
        <p:spPr>
          <a:xfrm>
            <a:off x="157017" y="1413307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s-E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rimera tarea: Descargaros el repositorio:</a:t>
            </a:r>
            <a:br>
              <a:rPr lang="es-E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es-E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andresescobarcotan/workshop-expedition-kafka</a:t>
            </a:r>
            <a:endParaRPr lang="es-E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endParaRPr lang="es-E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es-E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Levantamos con </a:t>
            </a:r>
            <a:r>
              <a:rPr lang="es-ES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&lt;</a:t>
            </a:r>
            <a:r>
              <a:rPr lang="es-ES" sz="2800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docker</a:t>
            </a:r>
            <a:r>
              <a:rPr lang="es-ES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s-ES" sz="2800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ompose</a:t>
            </a:r>
            <a:r>
              <a:rPr lang="es-ES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up&gt;</a:t>
            </a:r>
            <a:r>
              <a:rPr lang="es-E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los servicios.</a:t>
            </a:r>
          </a:p>
          <a:p>
            <a:pPr algn="just"/>
            <a:endParaRPr lang="es-E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es-E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ntentad, copiando la estructura del microservicio, crear otro igual y añadirlo a la lista de habitantes de </a:t>
            </a:r>
            <a:r>
              <a:rPr lang="es-ES" sz="28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Lumiere</a:t>
            </a:r>
            <a:r>
              <a:rPr lang="es-E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. </a:t>
            </a:r>
          </a:p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3632DD7E-BE45-D32F-1E72-64F23B190B11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mier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Ciudad de microservicios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4DB166D9-3502-937A-1814-C069124FAC42}"/>
              </a:ext>
            </a:extLst>
          </p:cNvPr>
          <p:cNvSpPr txBox="1">
            <a:spLocks/>
          </p:cNvSpPr>
          <p:nvPr/>
        </p:nvSpPr>
        <p:spPr>
          <a:xfrm>
            <a:off x="244763" y="2267598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11" name="Imagen 10" descr="Pintura de un hombre con sombrero&#10;&#10;El contenido generado por IA puede ser incorrecto.">
            <a:extLst>
              <a:ext uri="{FF2B5EF4-FFF2-40B4-BE49-F238E27FC236}">
                <a16:creationId xmlns:a16="http://schemas.microsoft.com/office/drawing/2014/main" id="{6A203F0C-03D1-8A57-8D2E-7AB9224F7C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1263" y="4505556"/>
            <a:ext cx="1063248" cy="15948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Imagen 8" descr="Un dibujo de una persona&#10;&#10;El contenido generado por IA puede ser incorrecto.">
            <a:extLst>
              <a:ext uri="{FF2B5EF4-FFF2-40B4-BE49-F238E27FC236}">
                <a16:creationId xmlns:a16="http://schemas.microsoft.com/office/drawing/2014/main" id="{844B739A-F29A-09B1-8D2E-DBBC1E31F2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849" y="4505556"/>
            <a:ext cx="1024814" cy="15372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053365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allAtOnce"/>
      <p:bldP spid="3" grpId="0" build="allAtOnce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128BC8-075C-9CF8-86E4-F394B17094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73BF1E2E-21B0-B80C-9B19-13E35058C35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rcRect t="21866" b="21866"/>
          <a:stretch/>
        </p:blipFill>
        <p:spPr>
          <a:xfrm>
            <a:off x="-965781" y="0"/>
            <a:ext cx="13703211" cy="7710575"/>
          </a:xfrm>
        </p:spPr>
      </p:pic>
      <p:sp>
        <p:nvSpPr>
          <p:cNvPr id="8" name="Title 6">
            <a:extLst>
              <a:ext uri="{FF2B5EF4-FFF2-40B4-BE49-F238E27FC236}">
                <a16:creationId xmlns:a16="http://schemas.microsoft.com/office/drawing/2014/main" id="{FBAA1F45-CE61-DC2B-14A6-FFEA622B22E7}"/>
              </a:ext>
            </a:extLst>
          </p:cNvPr>
          <p:cNvSpPr txBox="1">
            <a:spLocks/>
          </p:cNvSpPr>
          <p:nvPr/>
        </p:nvSpPr>
        <p:spPr>
          <a:xfrm>
            <a:off x="157017" y="1413307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s-ES" sz="2800" dirty="0">
                <a:latin typeface="+mn-lt"/>
              </a:rPr>
              <a:t>Un día en </a:t>
            </a:r>
            <a:r>
              <a:rPr lang="es-ES" sz="2800" dirty="0" err="1">
                <a:latin typeface="+mn-lt"/>
              </a:rPr>
              <a:t>Lumiere</a:t>
            </a:r>
            <a:r>
              <a:rPr lang="es-ES" sz="2800" dirty="0">
                <a:latin typeface="+mn-lt"/>
              </a:rPr>
              <a:t> aparece un nuevo habitante</a:t>
            </a:r>
            <a:r>
              <a:rPr lang="en-US" sz="2800" dirty="0">
                <a:latin typeface="+mn-lt"/>
              </a:rPr>
              <a:t>:</a:t>
            </a:r>
            <a:endParaRPr lang="es-ES" sz="2800" dirty="0">
              <a:latin typeface="+mn-lt"/>
            </a:endParaRPr>
          </a:p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3A140DAD-7FDA-8DDB-F7B1-B70B70B14B63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 </a:t>
            </a:r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mmag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mperativo.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61D3C10E-223E-011B-C1E6-5E28E6A34BF2}"/>
              </a:ext>
            </a:extLst>
          </p:cNvPr>
          <p:cNvSpPr txBox="1">
            <a:spLocks/>
          </p:cNvSpPr>
          <p:nvPr/>
        </p:nvSpPr>
        <p:spPr>
          <a:xfrm>
            <a:off x="157016" y="2267598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s-ES" sz="2800" dirty="0">
                <a:latin typeface="+mn-lt"/>
              </a:rPr>
              <a:t>La PINTORA</a:t>
            </a:r>
            <a:endParaRPr lang="es-E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7" name="Imagen 6" descr="Pintura de arte de una persona&#10;&#10;El contenido generado por IA puede ser incorrecto.">
            <a:extLst>
              <a:ext uri="{FF2B5EF4-FFF2-40B4-BE49-F238E27FC236}">
                <a16:creationId xmlns:a16="http://schemas.microsoft.com/office/drawing/2014/main" id="{C345D008-9AC0-BE97-74DE-CA9A1700D9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93695" y="3211586"/>
            <a:ext cx="3646414" cy="36464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1362251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allAtOnce"/>
      <p:bldP spid="3" grpId="0" build="allAtOnce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661590-E477-342C-B486-348878B5F5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0F54AD0D-DB09-3AD3-D494-09EE80A1869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rcRect t="21866" b="21866"/>
          <a:stretch/>
        </p:blipFill>
        <p:spPr>
          <a:xfrm>
            <a:off x="0" y="0"/>
            <a:ext cx="22173444" cy="12476638"/>
          </a:xfr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F92A7F8C-17C7-75A2-1CD1-63367D569688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 </a:t>
            </a:r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mmag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mperativo.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582C9CC4-8903-8EFA-35EF-6EF5F8DB4AF1}"/>
              </a:ext>
            </a:extLst>
          </p:cNvPr>
          <p:cNvSpPr txBox="1">
            <a:spLocks/>
          </p:cNvSpPr>
          <p:nvPr/>
        </p:nvSpPr>
        <p:spPr>
          <a:xfrm>
            <a:off x="157016" y="1014391"/>
            <a:ext cx="10543068" cy="56261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s-ES" sz="2800" dirty="0">
                <a:latin typeface="+mn-lt"/>
              </a:rPr>
              <a:t>La pintora es un nuevo MICROSERVICIO, que borra a los habitantes</a:t>
            </a:r>
            <a:br>
              <a:rPr lang="es-ES" sz="2800" dirty="0">
                <a:latin typeface="+mn-lt"/>
              </a:rPr>
            </a:br>
            <a:r>
              <a:rPr lang="es-ES" sz="2800" dirty="0">
                <a:latin typeface="+mn-lt"/>
              </a:rPr>
              <a:t>en un </a:t>
            </a:r>
            <a:r>
              <a:rPr lang="es-ES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VENTO </a:t>
            </a:r>
            <a:r>
              <a:rPr lang="es-ES" sz="2800" dirty="0">
                <a:latin typeface="+mn-lt"/>
              </a:rPr>
              <a:t>conocido como el </a:t>
            </a:r>
            <a:r>
              <a:rPr lang="es-ES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GOMMAGE. </a:t>
            </a:r>
          </a:p>
          <a:p>
            <a:pPr algn="just"/>
            <a:r>
              <a:rPr lang="es-E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n ese EVENTO, los microservicios con una edad mayor a 33 AÑOS mueren.</a:t>
            </a:r>
          </a:p>
        </p:txBody>
      </p:sp>
      <p:pic>
        <p:nvPicPr>
          <p:cNvPr id="7" name="Imagen 6" descr="Pintura de arte de una persona&#10;&#10;El contenido generado por IA puede ser incorrecto.">
            <a:extLst>
              <a:ext uri="{FF2B5EF4-FFF2-40B4-BE49-F238E27FC236}">
                <a16:creationId xmlns:a16="http://schemas.microsoft.com/office/drawing/2014/main" id="{173079C2-8069-B2EF-5732-20FA56972F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99038" y="3073040"/>
            <a:ext cx="3646414" cy="36464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2549196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A89F4D-3821-E0B1-4DCC-26C3281063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DDA4D679-7996-7924-A474-2E8F730A436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rcRect t="21866" b="21866"/>
          <a:stretch/>
        </p:blipFill>
        <p:spPr>
          <a:xfrm>
            <a:off x="-6049818" y="0"/>
            <a:ext cx="22173444" cy="12476638"/>
          </a:xfr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DA3ADEC8-39F8-E6B6-77C5-8BD7398CB728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 </a:t>
            </a:r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mmag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mperativo.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9AD69D5E-CB7A-928E-F8B8-73754DEDFEB6}"/>
              </a:ext>
            </a:extLst>
          </p:cNvPr>
          <p:cNvSpPr txBox="1">
            <a:spLocks/>
          </p:cNvSpPr>
          <p:nvPr/>
        </p:nvSpPr>
        <p:spPr>
          <a:xfrm>
            <a:off x="157016" y="1014391"/>
            <a:ext cx="10543068" cy="56261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s-ES" sz="2800" dirty="0">
                <a:latin typeface="+mn-lt"/>
              </a:rPr>
              <a:t>El resto de usuarios que sufren el </a:t>
            </a:r>
            <a:r>
              <a:rPr lang="es-ES" sz="2800" dirty="0" err="1">
                <a:latin typeface="+mn-lt"/>
              </a:rPr>
              <a:t>gommage</a:t>
            </a:r>
            <a:r>
              <a:rPr lang="es-ES" sz="2800" dirty="0">
                <a:latin typeface="+mn-lt"/>
              </a:rPr>
              <a:t> y que sobreviven, </a:t>
            </a:r>
            <a:r>
              <a:rPr lang="es-ES" sz="2800" b="1" dirty="0">
                <a:latin typeface="+mn-lt"/>
              </a:rPr>
              <a:t>aumentan en un año </a:t>
            </a:r>
            <a:r>
              <a:rPr lang="es-ES" sz="2800" dirty="0">
                <a:latin typeface="+mn-lt"/>
              </a:rPr>
              <a:t>su </a:t>
            </a:r>
            <a:r>
              <a:rPr lang="es-ES" sz="2800" b="1" dirty="0">
                <a:latin typeface="+mn-lt"/>
              </a:rPr>
              <a:t>edad. Salvo la pintora.</a:t>
            </a:r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7" name="Imagen 6" descr="Pintura de arte de una persona&#10;&#10;El contenido generado por IA puede ser incorrecto.">
            <a:extLst>
              <a:ext uri="{FF2B5EF4-FFF2-40B4-BE49-F238E27FC236}">
                <a16:creationId xmlns:a16="http://schemas.microsoft.com/office/drawing/2014/main" id="{A5496DF4-BF49-8D60-2B77-CD7B86A0AF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942234" y="2871413"/>
            <a:ext cx="3646414" cy="36464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1178533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909B43-AE87-CD1B-B75A-5CA25BF277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49C2ABCA-A406-E07B-7B0E-311E875BF96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rcRect t="21866" b="21866"/>
          <a:stretch/>
        </p:blipFill>
        <p:spPr>
          <a:xfrm>
            <a:off x="0" y="0"/>
            <a:ext cx="22173444" cy="12476638"/>
          </a:xfr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1669871B-3AB6-B1FB-5F27-AEFC424E651E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 </a:t>
            </a:r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mmag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mperativo.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051AAC57-8BBB-EFDF-5208-3620BB6979F4}"/>
              </a:ext>
            </a:extLst>
          </p:cNvPr>
          <p:cNvSpPr txBox="1">
            <a:spLocks/>
          </p:cNvSpPr>
          <p:nvPr/>
        </p:nvSpPr>
        <p:spPr>
          <a:xfrm>
            <a:off x="157015" y="1014391"/>
            <a:ext cx="15050901" cy="56261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7" name="Imagen 6" descr="Pintura de arte de una persona&#10;&#10;El contenido generado por IA puede ser incorrecto.">
            <a:extLst>
              <a:ext uri="{FF2B5EF4-FFF2-40B4-BE49-F238E27FC236}">
                <a16:creationId xmlns:a16="http://schemas.microsoft.com/office/drawing/2014/main" id="{13AF7093-AA30-CC88-2D0C-D321046341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5353" y="1014391"/>
            <a:ext cx="3646414" cy="36464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14F105D8-6114-2731-81EB-E8EE32B0309C}"/>
              </a:ext>
            </a:extLst>
          </p:cNvPr>
          <p:cNvSpPr txBox="1"/>
          <p:nvPr/>
        </p:nvSpPr>
        <p:spPr>
          <a:xfrm>
            <a:off x="4060106" y="1234340"/>
            <a:ext cx="6479558" cy="36512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omo </a:t>
            </a:r>
            <a:r>
              <a:rPr lang="es-ES" sz="1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Lumiere</a:t>
            </a: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es una ciudad IMPERATIVA y no REACTIVA, te toca averiguar como implementar el </a:t>
            </a:r>
            <a:r>
              <a:rPr lang="es-ES" sz="1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Gommage</a:t>
            </a: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. Teniendo en cuenta las siguientes características:</a:t>
            </a:r>
            <a:b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-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La pintora no puede morir.</a:t>
            </a:r>
          </a:p>
          <a:p>
            <a:pPr marL="285750" indent="-285750" algn="just">
              <a:buFontTx/>
              <a:buChar char="-"/>
            </a:pP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La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edad de alguien que no es la pintora, ha de aumentar en 1.</a:t>
            </a:r>
          </a:p>
          <a:p>
            <a:pPr marL="285750" indent="-285750" algn="just">
              <a:buFontTx/>
              <a:buChar char="-"/>
            </a:pP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l </a:t>
            </a:r>
            <a:r>
              <a:rPr lang="es-ES" sz="1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ndpoint</a:t>
            </a: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del </a:t>
            </a:r>
            <a:r>
              <a:rPr lang="es-ES" sz="1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gommage</a:t>
            </a: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es único para habitante. (No tenemos en cuenta términos de seguridad)</a:t>
            </a:r>
          </a:p>
          <a:p>
            <a:pPr marL="285750" indent="-285750" algn="just">
              <a:buFontTx/>
              <a:buChar char="-"/>
            </a:pP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uedes usar </a:t>
            </a:r>
            <a:r>
              <a:rPr lang="es-ES" sz="1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httpx.AsyncClient</a:t>
            </a: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) para llamar a otros </a:t>
            </a:r>
            <a:r>
              <a:rPr lang="es-ES" sz="1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Gommage</a:t>
            </a: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desde la definición del método.</a:t>
            </a:r>
          </a:p>
        </p:txBody>
      </p:sp>
    </p:spTree>
    <p:extLst>
      <p:ext uri="{BB962C8B-B14F-4D97-AF65-F5344CB8AC3E}">
        <p14:creationId xmlns:p14="http://schemas.microsoft.com/office/powerpoint/2010/main" val="22056805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F9CE26-0CE9-C62A-6FE8-CC268C108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2AB61312-ECC2-E61D-48C6-F79E3F8B548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rcRect t="21866" b="21866"/>
          <a:stretch/>
        </p:blipFill>
        <p:spPr>
          <a:xfrm>
            <a:off x="0" y="0"/>
            <a:ext cx="22173444" cy="12476638"/>
          </a:xfr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21DE4DA9-DB5B-77F3-5653-E494F4E13CF6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 </a:t>
            </a:r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mmag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mperativo.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1F5A38BB-8F0F-A8D3-CB0A-917C4571A44F}"/>
              </a:ext>
            </a:extLst>
          </p:cNvPr>
          <p:cNvSpPr txBox="1">
            <a:spLocks/>
          </p:cNvSpPr>
          <p:nvPr/>
        </p:nvSpPr>
        <p:spPr>
          <a:xfrm>
            <a:off x="157015" y="1014391"/>
            <a:ext cx="15050901" cy="56261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7" name="Imagen 6" descr="Pintura de arte de una persona&#10;&#10;El contenido generado por IA puede ser incorrecto.">
            <a:extLst>
              <a:ext uri="{FF2B5EF4-FFF2-40B4-BE49-F238E27FC236}">
                <a16:creationId xmlns:a16="http://schemas.microsoft.com/office/drawing/2014/main" id="{483AB815-E6DE-86CB-3D66-EFDF6DCE2F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82714" y="2817621"/>
            <a:ext cx="3646414" cy="36464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025EF197-5A95-933E-31E3-B73DE5042478}"/>
              </a:ext>
            </a:extLst>
          </p:cNvPr>
          <p:cNvSpPr txBox="1"/>
          <p:nvPr/>
        </p:nvSpPr>
        <p:spPr>
          <a:xfrm>
            <a:off x="3408218" y="1234340"/>
            <a:ext cx="7131446" cy="17461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l ejecutar el </a:t>
            </a:r>
            <a:r>
              <a:rPr lang="es-ES" sz="1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Gommage</a:t>
            </a: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uno de los habitantes ha muerto. Provocando que el resto del </a:t>
            </a:r>
            <a:r>
              <a:rPr lang="es-ES" sz="1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gommage</a:t>
            </a: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no se propague y no </a:t>
            </a:r>
            <a:r>
              <a:rPr lang="es-ES" sz="1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odiendo</a:t>
            </a: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ejecutar el </a:t>
            </a:r>
            <a:r>
              <a:rPr lang="es-ES" sz="1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gommage</a:t>
            </a:r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de nuevo.</a:t>
            </a:r>
          </a:p>
          <a:p>
            <a:pPr algn="just"/>
            <a:endParaRPr lang="es-ES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/>
            <a:r>
              <a:rPr lang="es-ES" sz="18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+mn-lt"/>
              </a:rPr>
              <a:t>¿Cómo lo evitamos?</a:t>
            </a:r>
          </a:p>
        </p:txBody>
      </p:sp>
    </p:spTree>
    <p:extLst>
      <p:ext uri="{BB962C8B-B14F-4D97-AF65-F5344CB8AC3E}">
        <p14:creationId xmlns:p14="http://schemas.microsoft.com/office/powerpoint/2010/main" val="5639221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E8192B-6A73-8370-CB78-B0C5C3EA02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6C17377F-E45C-182C-2D85-A3FF196F6A2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rcRect t="21866" b="21866"/>
          <a:stretch/>
        </p:blipFill>
        <p:spPr>
          <a:xfrm>
            <a:off x="0" y="0"/>
            <a:ext cx="22173444" cy="12476638"/>
          </a:xfr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E8EDE6B0-B2C3-E913-DFA2-D9F4B3DB184A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 </a:t>
            </a:r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mmag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mperativo.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113D8B13-BE29-FD84-9314-B94935F7AC0D}"/>
              </a:ext>
            </a:extLst>
          </p:cNvPr>
          <p:cNvSpPr txBox="1">
            <a:spLocks/>
          </p:cNvSpPr>
          <p:nvPr/>
        </p:nvSpPr>
        <p:spPr>
          <a:xfrm>
            <a:off x="157015" y="1014391"/>
            <a:ext cx="15050901" cy="56261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C9607DE6-ECB5-DE62-6E56-97F2550817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5282714" y="2817621"/>
            <a:ext cx="3646414" cy="36464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A1264B4A-C1B4-C8C0-75DA-6C62D9548026}"/>
              </a:ext>
            </a:extLst>
          </p:cNvPr>
          <p:cNvSpPr txBox="1"/>
          <p:nvPr/>
        </p:nvSpPr>
        <p:spPr>
          <a:xfrm>
            <a:off x="3408218" y="1234340"/>
            <a:ext cx="7131446" cy="16691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odemos evitarlo de forma imperativa: Añadiendo una comprobación antes de llamar para ver si el servicio está levantado. Pero vamos a hacerlo de una forma mejor… </a:t>
            </a:r>
            <a:br>
              <a:rPr lang="es-E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es-ES" sz="18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+mn-lt"/>
              </a:rPr>
              <a:t>REACTIVA</a:t>
            </a:r>
          </a:p>
          <a:p>
            <a:pPr algn="just"/>
            <a:endParaRPr lang="es-ES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95485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588693-13B4-9B62-A6C1-EEFF069D16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3ED94916-926A-DC36-F965-C9624B0347F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alphaModFix amt="8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t="7799" b="7799"/>
          <a:stretch/>
        </p:blipFill>
        <p:spPr>
          <a:xfrm>
            <a:off x="0" y="0"/>
            <a:ext cx="12188017" cy="6858000"/>
          </a:xfr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2E4B6358-7610-36ED-CE54-69DCF843298F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ntando la Arquitectura de Eventos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CD37706E-37F0-0CD6-C013-D61D49C6E5D3}"/>
              </a:ext>
            </a:extLst>
          </p:cNvPr>
          <p:cNvSpPr txBox="1">
            <a:spLocks/>
          </p:cNvSpPr>
          <p:nvPr/>
        </p:nvSpPr>
        <p:spPr>
          <a:xfrm>
            <a:off x="157015" y="1014391"/>
            <a:ext cx="15050901" cy="56261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01FEB74-8458-B444-9A76-A31D326393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388319" y="1249173"/>
            <a:ext cx="3646414" cy="36464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35618A0A-E23E-AA8E-E931-0A80E1A3EF21}"/>
              </a:ext>
            </a:extLst>
          </p:cNvPr>
          <p:cNvSpPr txBox="1"/>
          <p:nvPr/>
        </p:nvSpPr>
        <p:spPr>
          <a:xfrm>
            <a:off x="4266037" y="1797997"/>
            <a:ext cx="7131446" cy="678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 arquitectura de eventos, cambia por completo la forma en la que planteábamos el problema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EBE415AF-1CA5-52CF-A16A-7F1CFDAE1B6F}"/>
              </a:ext>
            </a:extLst>
          </p:cNvPr>
          <p:cNvSpPr txBox="1"/>
          <p:nvPr/>
        </p:nvSpPr>
        <p:spPr>
          <a:xfrm>
            <a:off x="4266037" y="2733313"/>
            <a:ext cx="7131446" cy="678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 </a:t>
            </a:r>
            <a:r>
              <a:rPr lang="es-ES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EVENTO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es la representación de un suceso del sistema, que se propaga a lo largo del mismo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8B48B05E-A0E2-9E0A-BDAB-6B40CE234FD4}"/>
              </a:ext>
            </a:extLst>
          </p:cNvPr>
          <p:cNvSpPr txBox="1"/>
          <p:nvPr/>
        </p:nvSpPr>
        <p:spPr>
          <a:xfrm>
            <a:off x="4266037" y="3827488"/>
            <a:ext cx="7131446" cy="9828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s </a:t>
            </a:r>
            <a:r>
              <a:rPr lang="es-ES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MICROSERVICIOS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reaccionan de forma </a:t>
            </a:r>
            <a:r>
              <a:rPr lang="es-ES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asíncrona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 estos eventos, modificando su estado y generando nuevos eventos en su lugar.</a:t>
            </a:r>
          </a:p>
        </p:txBody>
      </p:sp>
    </p:spTree>
    <p:extLst>
      <p:ext uri="{BB962C8B-B14F-4D97-AF65-F5344CB8AC3E}">
        <p14:creationId xmlns:p14="http://schemas.microsoft.com/office/powerpoint/2010/main" val="21461120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3EBD53-621A-81A6-D709-5B7E4EE942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D55CC7B4-AF29-DE0D-6651-02FA57681A9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alphaModFix amt="8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t="7799" b="7799"/>
          <a:stretch/>
        </p:blipFill>
        <p:spPr>
          <a:xfrm>
            <a:off x="1" y="-4924928"/>
            <a:ext cx="22639592" cy="12738932"/>
          </a:xfr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0E1FA0C0-AAD0-7390-226B-074C10B8F8FD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ntando la Arquitectura de Eventos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86BC4BC4-0220-B4BC-9238-9ABFF004E300}"/>
              </a:ext>
            </a:extLst>
          </p:cNvPr>
          <p:cNvSpPr txBox="1">
            <a:spLocks/>
          </p:cNvSpPr>
          <p:nvPr/>
        </p:nvSpPr>
        <p:spPr>
          <a:xfrm>
            <a:off x="157015" y="1014391"/>
            <a:ext cx="15050901" cy="56261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90C4E0CC-64D5-AA62-244F-BA17407AED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388319" y="1249173"/>
            <a:ext cx="3646414" cy="36464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3F8FDC97-2953-66B9-DA84-0A64D95FEDB3}"/>
              </a:ext>
            </a:extLst>
          </p:cNvPr>
          <p:cNvSpPr txBox="1"/>
          <p:nvPr/>
        </p:nvSpPr>
        <p:spPr>
          <a:xfrm>
            <a:off x="4175705" y="1319089"/>
            <a:ext cx="7131446" cy="3734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s </a:t>
            </a:r>
            <a:r>
              <a:rPr lang="es-ES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EVENTOS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representan una acción o dentro de una frase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74828E1-F42C-00E6-6889-6BA3F5A3D1A4}"/>
              </a:ext>
            </a:extLst>
          </p:cNvPr>
          <p:cNvSpPr txBox="1"/>
          <p:nvPr/>
        </p:nvSpPr>
        <p:spPr>
          <a:xfrm>
            <a:off x="4175705" y="1797284"/>
            <a:ext cx="7131446" cy="28206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s </a:t>
            </a:r>
            <a:r>
              <a:rPr lang="es-ES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MICROSERVICIOS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en este caso pueden tener UN ROL dentro de </a:t>
            </a:r>
            <a:r>
              <a:rPr lang="es-E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un evento que se ha producido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</a:p>
          <a:p>
            <a:pPr marL="285750" indent="-285750" algn="just">
              <a:buFontTx/>
              <a:buChar char="-"/>
            </a:pP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l Consumidor</a:t>
            </a:r>
          </a:p>
          <a:p>
            <a:pPr marL="285750" indent="-285750" algn="just">
              <a:buFontTx/>
              <a:buChar char="-"/>
            </a:pP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l Productor</a:t>
            </a:r>
          </a:p>
          <a:p>
            <a:pPr marL="285750" indent="-285750" algn="just">
              <a:buFontTx/>
              <a:buChar char="-"/>
            </a:pPr>
            <a:endParaRPr lang="es-ES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/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te modelo, obedece al </a:t>
            </a:r>
            <a:r>
              <a:rPr lang="es-E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patrón CQRS  </a:t>
            </a:r>
            <a:r>
              <a:rPr lang="es-ES" b="1" dirty="0">
                <a:highlight>
                  <a:srgbClr val="FFFF00"/>
                </a:highlight>
              </a:rPr>
              <a:t>"</a:t>
            </a:r>
            <a:r>
              <a:rPr lang="es-ES" b="1" dirty="0" err="1">
                <a:highlight>
                  <a:srgbClr val="FFFF00"/>
                </a:highlight>
              </a:rPr>
              <a:t>Command</a:t>
            </a:r>
            <a:r>
              <a:rPr lang="es-ES" b="1" dirty="0">
                <a:highlight>
                  <a:srgbClr val="FFFF00"/>
                </a:highlight>
              </a:rPr>
              <a:t> Query </a:t>
            </a:r>
            <a:r>
              <a:rPr lang="es-ES" b="1" dirty="0" err="1">
                <a:highlight>
                  <a:srgbClr val="FFFF00"/>
                </a:highlight>
              </a:rPr>
              <a:t>Responsibility</a:t>
            </a:r>
            <a:r>
              <a:rPr lang="es-ES" b="1" dirty="0">
                <a:highlight>
                  <a:srgbClr val="FFFF00"/>
                </a:highlight>
              </a:rPr>
              <a:t> </a:t>
            </a:r>
            <a:r>
              <a:rPr lang="es-ES" b="1" dirty="0" err="1">
                <a:highlight>
                  <a:srgbClr val="FFFF00"/>
                </a:highlight>
              </a:rPr>
              <a:t>Segregation</a:t>
            </a:r>
            <a:r>
              <a:rPr lang="es-ES" b="1" dirty="0">
                <a:highlight>
                  <a:srgbClr val="FFFF00"/>
                </a:highlight>
              </a:rPr>
              <a:t>" (Separación de la Responsabilidad de Comandos y Consultas),</a:t>
            </a:r>
            <a:endParaRPr lang="es-E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6935017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161798-2F58-7670-9D6C-27378EFCBB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2D77E5CC-2E63-7AF8-EA49-BA2BD6E270F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alphaModFix amt="8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t="7799" b="7799"/>
          <a:stretch/>
        </p:blipFill>
        <p:spPr>
          <a:xfrm>
            <a:off x="-9737557" y="-2310065"/>
            <a:ext cx="22639592" cy="12738932"/>
          </a:xfr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F4C572A7-E097-E3B1-141F-31C9853E6FAF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ntando la Arquitectura de Eventos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DF8917DE-F722-0BA2-F3C8-B191C8C88C7D}"/>
              </a:ext>
            </a:extLst>
          </p:cNvPr>
          <p:cNvSpPr txBox="1">
            <a:spLocks/>
          </p:cNvSpPr>
          <p:nvPr/>
        </p:nvSpPr>
        <p:spPr>
          <a:xfrm>
            <a:off x="157015" y="1014391"/>
            <a:ext cx="15050901" cy="56261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CB6F4D9-CB10-4484-55F1-CBE1209D40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8388571" y="1892497"/>
            <a:ext cx="3646414" cy="36464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080F0E36-59FB-0EE7-BF05-FDF1CDAF8B6C}"/>
              </a:ext>
            </a:extLst>
          </p:cNvPr>
          <p:cNvSpPr txBox="1"/>
          <p:nvPr/>
        </p:nvSpPr>
        <p:spPr>
          <a:xfrm>
            <a:off x="529291" y="1610566"/>
            <a:ext cx="7131446" cy="17461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 nuestro escenario, necesitamos un SISTEMA que nos permita transmitir los eventos y asegurarse de que todos los servicios lo reciben. </a:t>
            </a:r>
          </a:p>
          <a:p>
            <a:pPr algn="just"/>
            <a:endParaRPr lang="es-ES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/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 nuestro caso usaremos </a:t>
            </a:r>
            <a:r>
              <a:rPr lang="es-E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KAFKA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F4C19E6-92AE-AD5D-0A82-623D9E57824A}"/>
              </a:ext>
            </a:extLst>
          </p:cNvPr>
          <p:cNvSpPr txBox="1"/>
          <p:nvPr/>
        </p:nvSpPr>
        <p:spPr>
          <a:xfrm>
            <a:off x="551019" y="3504706"/>
            <a:ext cx="7131446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FKA: Es un BROKER de MENSAJERIA, que permite dividir en tópicos, siendo un </a:t>
            </a:r>
            <a:r>
              <a:rPr lang="es-E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TÓPICO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una agrupación que permite </a:t>
            </a:r>
            <a:r>
              <a:rPr lang="es-E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suscribirse a consumidores y productores para procesar eventos.</a:t>
            </a:r>
          </a:p>
        </p:txBody>
      </p:sp>
    </p:spTree>
    <p:extLst>
      <p:ext uri="{BB962C8B-B14F-4D97-AF65-F5344CB8AC3E}">
        <p14:creationId xmlns:p14="http://schemas.microsoft.com/office/powerpoint/2010/main" val="10400313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4CA52D-537B-A48F-B8E5-73283C1BF5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arcador de posición de imagen 3" descr="Un castillo iluminado en la oscuridad&#10;&#10;El contenido generado por IA puede ser incorrecto.">
            <a:extLst>
              <a:ext uri="{FF2B5EF4-FFF2-40B4-BE49-F238E27FC236}">
                <a16:creationId xmlns:a16="http://schemas.microsoft.com/office/drawing/2014/main" id="{AD8A3320-F35A-E464-2E55-A4733181DDF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t="7813" b="7813"/>
          <a:stretch>
            <a:fillRect/>
          </a:stretch>
        </p:blipFill>
        <p:spPr/>
      </p:pic>
      <p:pic>
        <p:nvPicPr>
          <p:cNvPr id="3" name="Vídeo 2">
            <a:hlinkClick r:id="" action="ppaction://media"/>
            <a:extLst>
              <a:ext uri="{FF2B5EF4-FFF2-40B4-BE49-F238E27FC236}">
                <a16:creationId xmlns:a16="http://schemas.microsoft.com/office/drawing/2014/main" id="{6B03C8C3-ED86-052A-E8E8-3E6B2F6AFF0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C1123B03-2C46-A017-1658-5F4E8C04FA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048" y="2532460"/>
            <a:ext cx="4793932" cy="1371600"/>
          </a:xfrm>
        </p:spPr>
        <p:txBody>
          <a:bodyPr/>
          <a:lstStyle/>
          <a:p>
            <a:r>
              <a:rPr lang="en-U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PEDICIÓN KAFKA: </a:t>
            </a:r>
            <a:r>
              <a:rPr lang="en-US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ntando</a:t>
            </a:r>
            <a:r>
              <a:rPr lang="en-U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a </a:t>
            </a:r>
            <a:r>
              <a:rPr lang="en-US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quitectura</a:t>
            </a:r>
            <a:r>
              <a:rPr lang="en-U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 </a:t>
            </a:r>
            <a:r>
              <a:rPr lang="en-US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ventos</a:t>
            </a:r>
            <a:endParaRPr lang="en-US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96030B6-7022-2F6B-AB9E-8B1606415B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0048" y="3810000"/>
            <a:ext cx="4793932" cy="697050"/>
          </a:xfrm>
        </p:spPr>
        <p:txBody>
          <a:bodyPr/>
          <a:lstStyle/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8610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42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865F45-9057-652E-E0AF-CB5455E304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F20B6C67-2217-F236-8EE3-64B99A6F4B8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alphaModFix amt="8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t="7799" b="7799"/>
          <a:stretch/>
        </p:blipFill>
        <p:spPr>
          <a:xfrm>
            <a:off x="-9208167" y="-2331005"/>
            <a:ext cx="22639592" cy="12738932"/>
          </a:xfr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EC09D822-90FF-AB3B-26AD-F6DB824CB69A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ntando la Arquitectura de Eventos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C554F595-0AC6-4291-FC91-EE20EC44F3C3}"/>
              </a:ext>
            </a:extLst>
          </p:cNvPr>
          <p:cNvSpPr txBox="1">
            <a:spLocks/>
          </p:cNvSpPr>
          <p:nvPr/>
        </p:nvSpPr>
        <p:spPr>
          <a:xfrm>
            <a:off x="157015" y="1014391"/>
            <a:ext cx="15050901" cy="56261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B484ED53-E36D-54FF-243A-5C70639A1E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551019" y="1530087"/>
            <a:ext cx="1807170" cy="180717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EFCAAA4F-D076-3D3A-550B-A5B1F7B62B86}"/>
              </a:ext>
            </a:extLst>
          </p:cNvPr>
          <p:cNvSpPr txBox="1"/>
          <p:nvPr/>
        </p:nvSpPr>
        <p:spPr>
          <a:xfrm>
            <a:off x="3833965" y="1280281"/>
            <a:ext cx="7131446" cy="13644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o última tarea:</a:t>
            </a:r>
          </a:p>
          <a:p>
            <a:pPr algn="just"/>
            <a:r>
              <a:rPr lang="es-E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Modifica en el directorio phase__2 la implementación del </a:t>
            </a:r>
            <a:r>
              <a:rPr lang="es-E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gommage</a:t>
            </a:r>
            <a:r>
              <a:rPr lang="es-E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</a:rPr>
              <a:t> de la pintora, para que cuando se haga el POST produzca un evento en Kafka correspondiente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5901C3D3-DB78-938A-76C9-C042D2F450F1}"/>
              </a:ext>
            </a:extLst>
          </p:cNvPr>
          <p:cNvSpPr txBox="1"/>
          <p:nvPr/>
        </p:nvSpPr>
        <p:spPr>
          <a:xfrm>
            <a:off x="551019" y="3504706"/>
            <a:ext cx="10951170" cy="678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 te sobra tiempo, modifica también la implementación del </a:t>
            </a:r>
            <a:r>
              <a:rPr lang="es-ES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mmage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de los consumidores, para que solo se </a:t>
            </a:r>
            <a:r>
              <a:rPr lang="es-ES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ectue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uando se produzca un evento desde la cola.</a:t>
            </a:r>
            <a:endParaRPr lang="es-E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2425554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 2">
            <a:extLst>
              <a:ext uri="{FF2B5EF4-FFF2-40B4-BE49-F238E27FC236}">
                <a16:creationId xmlns:a16="http://schemas.microsoft.com/office/drawing/2014/main" id="{E4722B14-82B1-91B1-A8B4-87490A1D3A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rgbClr val="080D25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" name="Placeholder 6">
            <a:extLst>
              <a:ext uri="{FF2B5EF4-FFF2-40B4-BE49-F238E27FC236}">
                <a16:creationId xmlns:a16="http://schemas.microsoft.com/office/drawing/2014/main" id="{E5D5E975-D9C9-7920-60F8-DDDF166B23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Placeholder 1">
            <a:extLst>
              <a:ext uri="{FF2B5EF4-FFF2-40B4-BE49-F238E27FC236}">
                <a16:creationId xmlns:a16="http://schemas.microsoft.com/office/drawing/2014/main" id="{73816F67-ED6E-18A8-B54B-03B06BABBB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r>
              <a:rPr lang="es-ES" dirty="0">
                <a:solidFill>
                  <a:schemeClr val="bg1"/>
                </a:solidFill>
              </a:rPr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1810306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 descr="Una calle de noche&#10;&#10;El contenido generado por IA puede ser incorrecto.">
            <a:extLst>
              <a:ext uri="{FF2B5EF4-FFF2-40B4-BE49-F238E27FC236}">
                <a16:creationId xmlns:a16="http://schemas.microsoft.com/office/drawing/2014/main" id="{5724DFA7-0339-3DE4-0C24-3DA8B012F52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t="7803" b="7803"/>
          <a:stretch>
            <a:fillRect/>
          </a:stretch>
        </p:blipFill>
        <p:spPr/>
      </p:pic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D8A9D31-ECC8-EB17-C8C9-DE0D7D4F9F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s-ES" dirty="0"/>
          </a:p>
        </p:txBody>
      </p:sp>
      <p:pic>
        <p:nvPicPr>
          <p:cNvPr id="7" name="Vídeo 5">
            <a:hlinkClick r:id="" action="ppaction://media"/>
            <a:extLst>
              <a:ext uri="{FF2B5EF4-FFF2-40B4-BE49-F238E27FC236}">
                <a16:creationId xmlns:a16="http://schemas.microsoft.com/office/drawing/2014/main" id="{7F7480CF-E863-429D-6580-6D1313914D4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>
            <a:lum/>
          </a:blip>
          <a:stretch>
            <a:fillRect/>
          </a:stretch>
        </p:blipFill>
        <p:spPr>
          <a:xfrm>
            <a:off x="0" y="0"/>
            <a:ext cx="12192000" cy="6761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4577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42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 descr="Una calle de noche&#10;&#10;El contenido generado por IA puede ser incorrecto.">
            <a:extLst>
              <a:ext uri="{FF2B5EF4-FFF2-40B4-BE49-F238E27FC236}">
                <a16:creationId xmlns:a16="http://schemas.microsoft.com/office/drawing/2014/main" id="{5724DFA7-0339-3DE4-0C24-3DA8B012F52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68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t="7803" b="7803"/>
          <a:stretch>
            <a:fillRect/>
          </a:stretch>
        </p:blipFill>
        <p:spPr/>
      </p:pic>
      <p:sp>
        <p:nvSpPr>
          <p:cNvPr id="8" name="Title 6">
            <a:extLst>
              <a:ext uri="{FF2B5EF4-FFF2-40B4-BE49-F238E27FC236}">
                <a16:creationId xmlns:a16="http://schemas.microsoft.com/office/drawing/2014/main" id="{30EF691C-AA65-AE45-A9A5-F9837244D589}"/>
              </a:ext>
            </a:extLst>
          </p:cNvPr>
          <p:cNvSpPr txBox="1">
            <a:spLocks/>
          </p:cNvSpPr>
          <p:nvPr/>
        </p:nvSpPr>
        <p:spPr>
          <a:xfrm>
            <a:off x="6825673" y="323415"/>
            <a:ext cx="4930176" cy="396792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dice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</a:p>
          <a:p>
            <a:endParaRPr lang="es-ES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14350" indent="-514350">
              <a:buAutoNum type="arabicParenR"/>
            </a:pPr>
            <a:r>
              <a:rPr lang="es-ES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miere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Ciudad de microservicios</a:t>
            </a:r>
          </a:p>
          <a:p>
            <a:pPr marL="514350" indent="-514350">
              <a:buAutoNum type="arabicParenR"/>
            </a:pP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 </a:t>
            </a:r>
            <a:r>
              <a:rPr lang="es-ES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mmage</a:t>
            </a: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mperativo.</a:t>
            </a:r>
          </a:p>
          <a:p>
            <a:pPr marL="514350" indent="-514350">
              <a:buAutoNum type="arabicParenR"/>
            </a:pPr>
            <a:r>
              <a:rPr lang="es-E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ntando la arquitectura de eventos. </a:t>
            </a:r>
          </a:p>
        </p:txBody>
      </p:sp>
    </p:spTree>
    <p:extLst>
      <p:ext uri="{BB962C8B-B14F-4D97-AF65-F5344CB8AC3E}">
        <p14:creationId xmlns:p14="http://schemas.microsoft.com/office/powerpoint/2010/main" val="5504859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000"/>
                            </p:stCondLst>
                            <p:childTnLst>
                              <p:par>
                                <p:cTn id="16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F7AAE1-1E6C-3923-E2AC-53F71C4015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 descr="Una calle de noche&#10;&#10;El contenido generado por IA puede ser incorrecto.">
            <a:extLst>
              <a:ext uri="{FF2B5EF4-FFF2-40B4-BE49-F238E27FC236}">
                <a16:creationId xmlns:a16="http://schemas.microsoft.com/office/drawing/2014/main" id="{44AC5E3F-B07A-59E2-D69D-B8F9BAC2637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68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t="7803" b="7803"/>
          <a:stretch>
            <a:fillRect/>
          </a:stretch>
        </p:blipFill>
        <p:spPr>
          <a:xfrm>
            <a:off x="-11187504" y="62952"/>
            <a:ext cx="23379504" cy="13155268"/>
          </a:xfrm>
        </p:spPr>
      </p:pic>
      <p:sp>
        <p:nvSpPr>
          <p:cNvPr id="8" name="Title 6">
            <a:extLst>
              <a:ext uri="{FF2B5EF4-FFF2-40B4-BE49-F238E27FC236}">
                <a16:creationId xmlns:a16="http://schemas.microsoft.com/office/drawing/2014/main" id="{41C9545E-A8C9-B644-88AE-06C9D00463B6}"/>
              </a:ext>
            </a:extLst>
          </p:cNvPr>
          <p:cNvSpPr txBox="1">
            <a:spLocks/>
          </p:cNvSpPr>
          <p:nvPr/>
        </p:nvSpPr>
        <p:spPr>
          <a:xfrm>
            <a:off x="157017" y="1413307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s-ES" sz="2800" dirty="0" err="1">
                <a:latin typeface="+mn-lt"/>
              </a:rPr>
              <a:t>Lumiere</a:t>
            </a:r>
            <a:r>
              <a:rPr lang="es-ES" sz="2800" dirty="0">
                <a:latin typeface="+mn-lt"/>
              </a:rPr>
              <a:t> es una ciudad, habitada por unos ciudadanos muy particulares:</a:t>
            </a:r>
          </a:p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5D008C4D-4D61-BC2C-5599-25F13FC264A1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mier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Ciudad de microservicios</a:t>
            </a: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5E85AFC0-2D64-F186-6743-D14A8BE9645D}"/>
              </a:ext>
            </a:extLst>
          </p:cNvPr>
          <p:cNvSpPr txBox="1">
            <a:spLocks/>
          </p:cNvSpPr>
          <p:nvPr/>
        </p:nvSpPr>
        <p:spPr>
          <a:xfrm>
            <a:off x="157016" y="2267598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s-ES" sz="2800" dirty="0">
                <a:latin typeface="+mn-lt"/>
              </a:rPr>
              <a:t>Los </a:t>
            </a:r>
            <a:r>
              <a:rPr lang="es-ES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MICROSERVICIOS</a:t>
            </a:r>
          </a:p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5" name="Imagen 4" descr="Un dibujo de una persona&#10;&#10;El contenido generado por IA puede ser incorrecto.">
            <a:extLst>
              <a:ext uri="{FF2B5EF4-FFF2-40B4-BE49-F238E27FC236}">
                <a16:creationId xmlns:a16="http://schemas.microsoft.com/office/drawing/2014/main" id="{EE2302E2-B001-76FA-C864-861F632B53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9630" y="3418921"/>
            <a:ext cx="1914500" cy="2871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Imagen 8" descr="Un dibujo de una persona&#10;&#10;El contenido generado por IA puede ser incorrecto.">
            <a:extLst>
              <a:ext uri="{FF2B5EF4-FFF2-40B4-BE49-F238E27FC236}">
                <a16:creationId xmlns:a16="http://schemas.microsoft.com/office/drawing/2014/main" id="{E0F79A8E-BD1F-F0AF-F246-AD96AC9DAD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7872" y="3481873"/>
            <a:ext cx="1872532" cy="28087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Imagen 10" descr="Pintura de un hombre con sombrero&#10;&#10;El contenido generado por IA puede ser incorrecto.">
            <a:extLst>
              <a:ext uri="{FF2B5EF4-FFF2-40B4-BE49-F238E27FC236}">
                <a16:creationId xmlns:a16="http://schemas.microsoft.com/office/drawing/2014/main" id="{7DC2FB47-A932-74D7-A3CF-3B03E480BE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14146" y="3418921"/>
            <a:ext cx="1914500" cy="2871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405983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60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allAtOnce"/>
      <p:bldP spid="3" grpId="0" build="allAtOnce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79571B-5FD4-427E-1D7E-4A65D9529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776572EF-15BB-5F94-1890-A057F974DFC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</a:blip>
          <a:srcRect t="7799" b="7799"/>
          <a:stretch/>
        </p:blipFill>
        <p:spPr>
          <a:xfrm>
            <a:off x="0" y="-5441432"/>
            <a:ext cx="21858514" cy="12299432"/>
          </a:xfrm>
        </p:spPr>
      </p:pic>
      <p:sp>
        <p:nvSpPr>
          <p:cNvPr id="8" name="Title 6">
            <a:extLst>
              <a:ext uri="{FF2B5EF4-FFF2-40B4-BE49-F238E27FC236}">
                <a16:creationId xmlns:a16="http://schemas.microsoft.com/office/drawing/2014/main" id="{5CDE7406-6100-903D-8AF6-910A8226E5BB}"/>
              </a:ext>
            </a:extLst>
          </p:cNvPr>
          <p:cNvSpPr txBox="1">
            <a:spLocks/>
          </p:cNvSpPr>
          <p:nvPr/>
        </p:nvSpPr>
        <p:spPr>
          <a:xfrm>
            <a:off x="2228532" y="1071705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ada MICROSERVICIO </a:t>
            </a:r>
            <a:r>
              <a:rPr lang="en-US" sz="2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tiene</a:t>
            </a:r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:</a:t>
            </a:r>
          </a:p>
          <a:p>
            <a:pPr marL="457200" indent="-457200" algn="just">
              <a:buFontTx/>
              <a:buChar char="-"/>
            </a:pPr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Nombre</a:t>
            </a:r>
          </a:p>
          <a:p>
            <a:pPr marL="457200" indent="-457200" algn="just">
              <a:buFontTx/>
              <a:buChar char="-"/>
            </a:pPr>
            <a:r>
              <a:rPr lang="en-US" sz="2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dad</a:t>
            </a:r>
            <a:endParaRPr lang="en-U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457200" indent="-457200" algn="just">
              <a:buFontTx/>
              <a:buChar char="-"/>
            </a:pPr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magen que le distingue</a:t>
            </a:r>
          </a:p>
          <a:p>
            <a:pPr marL="457200" indent="-457200" algn="just">
              <a:buFontTx/>
              <a:buChar char="-"/>
            </a:pPr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Un </a:t>
            </a:r>
            <a:r>
              <a:rPr lang="en-US" sz="2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stado</a:t>
            </a:r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que indica </a:t>
            </a:r>
            <a:r>
              <a:rPr lang="en-US" sz="2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i</a:t>
            </a:r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n-US" sz="28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st</a:t>
            </a:r>
            <a:r>
              <a:rPr lang="es-E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á vivo o muerto</a:t>
            </a:r>
            <a:endParaRPr lang="en-U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endParaRPr lang="es-ES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E9DD9229-9B5F-98B3-5E31-ECDE7AB1547A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mier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Ciudad de microservicios</a:t>
            </a:r>
          </a:p>
        </p:txBody>
      </p:sp>
      <p:pic>
        <p:nvPicPr>
          <p:cNvPr id="5" name="Imagen 4" descr="Un dibujo de una persona&#10;&#10;El contenido generado por IA puede ser incorrecto.">
            <a:extLst>
              <a:ext uri="{FF2B5EF4-FFF2-40B4-BE49-F238E27FC236}">
                <a16:creationId xmlns:a16="http://schemas.microsoft.com/office/drawing/2014/main" id="{DB427109-0923-C29E-504F-DC4666157A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016" y="831723"/>
            <a:ext cx="1914500" cy="2871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66210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allAtOnce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F0EE5E-BDFD-9D0A-925D-637A5B086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F82063B5-4C53-E36E-E357-204C115F634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</a:blip>
          <a:srcRect t="7799" b="7799"/>
          <a:stretch/>
        </p:blipFill>
        <p:spPr>
          <a:xfrm>
            <a:off x="-8538984" y="-5590700"/>
            <a:ext cx="21858514" cy="12299432"/>
          </a:xfr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D613E474-294F-C64D-D7A7-DB9D248134F4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mier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Ciudad de microservicios</a:t>
            </a:r>
          </a:p>
        </p:txBody>
      </p:sp>
      <p:pic>
        <p:nvPicPr>
          <p:cNvPr id="5" name="Imagen 4" descr="Un dibujo de una persona&#10;&#10;El contenido generado por IA puede ser incorrecto.">
            <a:extLst>
              <a:ext uri="{FF2B5EF4-FFF2-40B4-BE49-F238E27FC236}">
                <a16:creationId xmlns:a16="http://schemas.microsoft.com/office/drawing/2014/main" id="{1F698191-1987-6803-C0B3-50A121F39E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357" y="836758"/>
            <a:ext cx="1914500" cy="2871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6AE3B2E9-888C-C7B8-C32A-FC429945D8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53546" y="1113861"/>
            <a:ext cx="9005943" cy="50400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7421276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79391-E56E-F757-A289-74D42B69DC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 descr="Una calle de noche&#10;&#10;El contenido generado por IA puede ser incorrecto.">
            <a:extLst>
              <a:ext uri="{FF2B5EF4-FFF2-40B4-BE49-F238E27FC236}">
                <a16:creationId xmlns:a16="http://schemas.microsoft.com/office/drawing/2014/main" id="{DB0B2FEA-056B-5AFC-D595-F89594D78EE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68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t="7803" b="7803"/>
          <a:stretch>
            <a:fillRect/>
          </a:stretch>
        </p:blipFill>
        <p:spPr>
          <a:xfrm>
            <a:off x="0" y="-6297268"/>
            <a:ext cx="23379504" cy="13155268"/>
          </a:xfrm>
        </p:spPr>
      </p:pic>
      <p:sp>
        <p:nvSpPr>
          <p:cNvPr id="8" name="Title 6">
            <a:extLst>
              <a:ext uri="{FF2B5EF4-FFF2-40B4-BE49-F238E27FC236}">
                <a16:creationId xmlns:a16="http://schemas.microsoft.com/office/drawing/2014/main" id="{982DE308-488E-2D62-E946-BE101F187362}"/>
              </a:ext>
            </a:extLst>
          </p:cNvPr>
          <p:cNvSpPr txBox="1">
            <a:spLocks/>
          </p:cNvSpPr>
          <p:nvPr/>
        </p:nvSpPr>
        <p:spPr>
          <a:xfrm>
            <a:off x="157017" y="1413306"/>
            <a:ext cx="11702473" cy="2538207"/>
          </a:xfrm>
          <a:prstGeom prst="rect">
            <a:avLst/>
          </a:prstGeom>
          <a:solidFill>
            <a:schemeClr val="accent3">
              <a:alpha val="43000"/>
            </a:schemeClr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s-ES" sz="2800" dirty="0">
                <a:effectLst>
                  <a:outerShdw blurRad="50800" dist="50800" dir="5400000" algn="ctr" rotWithShape="0">
                    <a:schemeClr val="tx1"/>
                  </a:outerShdw>
                </a:effectLst>
                <a:latin typeface="+mn-lt"/>
              </a:rPr>
              <a:t>Los </a:t>
            </a:r>
            <a:r>
              <a:rPr lang="es-ES" sz="2800" b="1" dirty="0">
                <a:effectLst>
                  <a:outerShdw blurRad="50800" dist="50800" dir="5400000" algn="ctr" rotWithShape="0">
                    <a:schemeClr val="tx1"/>
                  </a:outerShdw>
                </a:effectLst>
                <a:latin typeface="+mn-lt"/>
              </a:rPr>
              <a:t>microservicios</a:t>
            </a:r>
            <a:r>
              <a:rPr lang="es-ES" sz="2800" dirty="0">
                <a:effectLst>
                  <a:outerShdw blurRad="50800" dist="50800" dir="5400000" algn="ctr" rotWithShape="0">
                    <a:schemeClr val="tx1"/>
                  </a:outerShdw>
                </a:effectLst>
                <a:latin typeface="+mn-lt"/>
              </a:rPr>
              <a:t> son un </a:t>
            </a:r>
            <a:r>
              <a:rPr lang="es-ES" sz="2800" b="1" dirty="0">
                <a:effectLst>
                  <a:outerShdw blurRad="50800" dist="50800" dir="5400000" algn="ctr" rotWithShape="0">
                    <a:schemeClr val="tx1"/>
                  </a:outerShdw>
                </a:effectLst>
                <a:latin typeface="+mn-lt"/>
              </a:rPr>
              <a:t>estilo de arquitectura de software</a:t>
            </a:r>
            <a:r>
              <a:rPr lang="es-ES" sz="2800" dirty="0">
                <a:effectLst>
                  <a:outerShdw blurRad="50800" dist="50800" dir="5400000" algn="ctr" rotWithShape="0">
                    <a:schemeClr val="tx1"/>
                  </a:outerShdw>
                </a:effectLst>
                <a:latin typeface="+mn-lt"/>
              </a:rPr>
              <a:t> que consiste en dividir una aplicación en un conjunto de </a:t>
            </a:r>
            <a:r>
              <a:rPr lang="es-ES" sz="2800" b="1" dirty="0">
                <a:effectLst>
                  <a:outerShdw blurRad="50800" dist="50800" dir="5400000" algn="ctr" rotWithShape="0">
                    <a:schemeClr val="tx1"/>
                  </a:outerShdw>
                </a:effectLst>
                <a:latin typeface="+mn-lt"/>
              </a:rPr>
              <a:t>servicios pequeños, independientes y autónomos</a:t>
            </a:r>
            <a:r>
              <a:rPr lang="es-ES" sz="2800" dirty="0">
                <a:effectLst>
                  <a:outerShdw blurRad="50800" dist="50800" dir="5400000" algn="ctr" rotWithShape="0">
                    <a:schemeClr val="tx1"/>
                  </a:outerShdw>
                </a:effectLst>
                <a:latin typeface="+mn-lt"/>
              </a:rPr>
              <a:t>, que se comunican entre sí normalmente mediante </a:t>
            </a:r>
            <a:r>
              <a:rPr lang="es-ES" sz="2800" b="1" dirty="0">
                <a:effectLst>
                  <a:outerShdw blurRad="50800" dist="50800" dir="5400000" algn="ctr" rotWithShape="0">
                    <a:schemeClr val="tx1"/>
                  </a:outerShdw>
                </a:effectLst>
                <a:latin typeface="+mn-lt"/>
              </a:rPr>
              <a:t>APIs ligeras</a:t>
            </a:r>
            <a:r>
              <a:rPr lang="es-ES" sz="2800" dirty="0">
                <a:effectLst>
                  <a:outerShdw blurRad="50800" dist="50800" dir="5400000" algn="ctr" rotWithShape="0">
                    <a:schemeClr val="tx1"/>
                  </a:outerShdw>
                </a:effectLst>
                <a:latin typeface="+mn-lt"/>
              </a:rPr>
              <a:t> (como HTTP o mensajería).</a:t>
            </a:r>
            <a:endParaRPr lang="es-ES" sz="2800" b="1" dirty="0">
              <a:solidFill>
                <a:srgbClr val="FFFFFF"/>
              </a:solidFill>
              <a:effectLst>
                <a:outerShdw blurRad="50800" dist="50800" dir="5400000" algn="ctr" rotWithShape="0">
                  <a:schemeClr val="tx1"/>
                </a:outerShdw>
              </a:effectLst>
              <a:latin typeface="+mn-lt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ED8324C2-0499-BA06-D52B-2E2FD67A61BC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mier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Ciudad de microservicios</a:t>
            </a:r>
          </a:p>
        </p:txBody>
      </p:sp>
    </p:spTree>
    <p:extLst>
      <p:ext uri="{BB962C8B-B14F-4D97-AF65-F5344CB8AC3E}">
        <p14:creationId xmlns:p14="http://schemas.microsoft.com/office/powerpoint/2010/main" val="4925752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allAtOnce"/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234EE5-D063-4946-7EF1-E2094B795A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 descr="Una calle de noche&#10;&#10;El contenido generado por IA puede ser incorrecto.">
            <a:extLst>
              <a:ext uri="{FF2B5EF4-FFF2-40B4-BE49-F238E27FC236}">
                <a16:creationId xmlns:a16="http://schemas.microsoft.com/office/drawing/2014/main" id="{BA245008-9874-8FF6-AAFA-2BFB09DF93C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68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t="7803" b="7803"/>
          <a:stretch>
            <a:fillRect/>
          </a:stretch>
        </p:blipFill>
        <p:spPr>
          <a:xfrm>
            <a:off x="-8919410" y="-1954131"/>
            <a:ext cx="23379504" cy="13155268"/>
          </a:xfr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1AD0F794-947B-AA3D-95B7-908D51F9090C}"/>
              </a:ext>
            </a:extLst>
          </p:cNvPr>
          <p:cNvSpPr txBox="1">
            <a:spLocks/>
          </p:cNvSpPr>
          <p:nvPr/>
        </p:nvSpPr>
        <p:spPr>
          <a:xfrm>
            <a:off x="157016" y="217414"/>
            <a:ext cx="11702473" cy="341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miere</a:t>
            </a:r>
            <a:r>
              <a:rPr lang="es-E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Ciudad de microservicio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32614D9-49EB-4F3C-05E8-6514F0FF8C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7463" y="1504950"/>
            <a:ext cx="7077075" cy="3848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13396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EMEAL">
  <a:themeElements>
    <a:clrScheme name="NTT DATA EMEAL">
      <a:dk1>
        <a:srgbClr val="000000"/>
      </a:dk1>
      <a:lt1>
        <a:srgbClr val="FFFFFF"/>
      </a:lt1>
      <a:dk2>
        <a:srgbClr val="000000"/>
      </a:dk2>
      <a:lt2>
        <a:srgbClr val="D5DDF0"/>
      </a:lt2>
      <a:accent1>
        <a:srgbClr val="6785C1"/>
      </a:accent1>
      <a:accent2>
        <a:srgbClr val="070F26"/>
      </a:accent2>
      <a:accent3>
        <a:srgbClr val="0080B1"/>
      </a:accent3>
      <a:accent4>
        <a:srgbClr val="E6B600"/>
      </a:accent4>
      <a:accent5>
        <a:srgbClr val="BC4328"/>
      </a:accent5>
      <a:accent6>
        <a:srgbClr val="D5DDF0"/>
      </a:accent6>
      <a:hlink>
        <a:srgbClr val="6785C1"/>
      </a:hlink>
      <a:folHlink>
        <a:srgbClr val="070F26"/>
      </a:folHlink>
    </a:clrScheme>
    <a:fontScheme name="NTT DATA EME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Bef>
            <a:spcPts val="600"/>
          </a:spcBef>
          <a:defRPr dirty="0" smtClean="0"/>
        </a:defPPr>
      </a:lstStyle>
    </a:txDef>
  </a:objectDefaults>
  <a:extraClrSchemeLst/>
  <a:custClrLst>
    <a:custClr name="Orange">
      <a:srgbClr val="D76B00"/>
    </a:custClr>
    <a:custClr name="Purple">
      <a:srgbClr val="8246AF"/>
    </a:custClr>
    <a:custClr name="Green">
      <a:srgbClr val="00B176"/>
    </a:custClr>
    <a:custClr name="Silver">
      <a:srgbClr val="C6C8CA"/>
    </a:custClr>
    <a:custClr name="Human Blue 60">
      <a:srgbClr val="8FACD9"/>
    </a:custClr>
    <a:custClr name="Smart Navy 60">
      <a:srgbClr val="1D264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Human Blue 40">
      <a:srgbClr val="B1C4E4"/>
    </a:custClr>
    <a:custClr name="Smart Navy 50">
      <a:srgbClr val="3B486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Human Blue 20">
      <a:srgbClr val="E1E7F3"/>
    </a:custClr>
    <a:custClr name="Smart Navy 40">
      <a:srgbClr val="66749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mart Navy 30">
      <a:srgbClr val="A0A9C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mart Navy 20">
      <a:srgbClr val="D5DDE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NTT DATA_PPT template_small" id="{98097D8B-866D-4AFF-BF38-7DD5A6B5B8ED}" vid="{2C25164B-8894-458B-9CB2-FA03D03517E7}"/>
    </a:ext>
  </a:extLst>
</a:theme>
</file>

<file path=ppt/theme/theme2.xml><?xml version="1.0" encoding="utf-8"?>
<a:theme xmlns:a="http://schemas.openxmlformats.org/drawingml/2006/main" name="NTT DATA LIGHT ">
  <a:themeElements>
    <a:clrScheme name="NTT 2023 Final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_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NTT_DATA_Global_Template.potx" id="{E7359134-6A7F-4870-8C68-196F2A9FF1FF}" vid="{AB93FA09-13EB-469A-ACE5-0B3FC3C6F11D}"/>
    </a:ext>
  </a:extLst>
</a:theme>
</file>

<file path=ppt/theme/theme3.xml><?xml version="1.0" encoding="utf-8"?>
<a:theme xmlns:a="http://schemas.openxmlformats.org/drawingml/2006/main" name="NTT DATA DARK ">
  <a:themeElements>
    <a:clrScheme name="Benutzerdefiniert 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202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NTT_DATA_Global_Template.potx" id="{E7359134-6A7F-4870-8C68-196F2A9FF1FF}" vid="{B0D39E18-4484-4971-8EFB-EC14D3C81051}"/>
    </a:ext>
  </a:extLst>
</a:theme>
</file>

<file path=ppt/theme/theme4.xml><?xml version="1.0" encoding="utf-8"?>
<a:theme xmlns:a="http://schemas.openxmlformats.org/drawingml/2006/main" name="NTT DATA DARK ">
  <a:themeElements>
    <a:clrScheme name="NTT DATA 2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7F7F7F"/>
      </a:accent6>
      <a:hlink>
        <a:srgbClr val="19A3FC"/>
      </a:hlink>
      <a:folHlink>
        <a:srgbClr val="0072BC"/>
      </a:folHlink>
    </a:clrScheme>
    <a:fontScheme name="NTT_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NTT_DATA_PowerPoint_Template.potx" id="{38420CBF-8BF6-416B-B040-7E1E46EF7821}" vid="{8E99A986-5A7D-46D3-AD5E-F449296905F3}"/>
    </a:ext>
  </a:extLst>
</a:theme>
</file>

<file path=ppt/theme/theme5.xml><?xml version="1.0" encoding="utf-8"?>
<a:theme xmlns:a="http://schemas.openxmlformats.org/drawingml/2006/main" name="1_NTT DATA DARK ">
  <a:themeElements>
    <a:clrScheme name="NTT DATA 2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7F7F7F"/>
      </a:accent6>
      <a:hlink>
        <a:srgbClr val="19A3FC"/>
      </a:hlink>
      <a:folHlink>
        <a:srgbClr val="0072BC"/>
      </a:folHlink>
    </a:clrScheme>
    <a:fontScheme name="NTT_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NTT_DATA_PowerPoint_Template.potx" id="{38420CBF-8BF6-416B-B040-7E1E46EF7821}" vid="{8E99A986-5A7D-46D3-AD5E-F449296905F3}"/>
    </a:ext>
  </a:extLst>
</a:theme>
</file>

<file path=ppt/theme/theme6.xml><?xml version="1.0" encoding="utf-8"?>
<a:theme xmlns:a="http://schemas.openxmlformats.org/drawingml/2006/main" name="NTT DATA DARK ">
  <a:themeElements>
    <a:clrScheme name="NTT DATA 2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7F7F7F"/>
      </a:accent6>
      <a:hlink>
        <a:srgbClr val="19A3FC"/>
      </a:hlink>
      <a:folHlink>
        <a:srgbClr val="0072BC"/>
      </a:folHlink>
    </a:clrScheme>
    <a:fontScheme name="NTT_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NTT_DATA_PowerPoint_Template.potx" id="{38420CBF-8BF6-416B-B040-7E1E46EF7821}" vid="{8E99A986-5A7D-46D3-AD5E-F449296905F3}"/>
    </a:ext>
  </a:extLst>
</a:theme>
</file>

<file path=ppt/theme/theme7.xml><?xml version="1.0" encoding="utf-8"?>
<a:theme xmlns:a="http://schemas.openxmlformats.org/drawingml/2006/main" name="Light Body Slides">
  <a:themeElements>
    <a:clrScheme name="NTT DATA 2024">
      <a:dk1>
        <a:srgbClr val="FFFFFF"/>
      </a:dk1>
      <a:lt1>
        <a:srgbClr val="070F26"/>
      </a:lt1>
      <a:dk2>
        <a:srgbClr val="2E404D"/>
      </a:dk2>
      <a:lt2>
        <a:srgbClr val="0072BC"/>
      </a:lt2>
      <a:accent1>
        <a:srgbClr val="19A3FC"/>
      </a:accent1>
      <a:accent2>
        <a:srgbClr val="00DFED"/>
      </a:accent2>
      <a:accent3>
        <a:srgbClr val="00CB5D"/>
      </a:accent3>
      <a:accent4>
        <a:srgbClr val="FFC400"/>
      </a:accent4>
      <a:accent5>
        <a:srgbClr val="FF7A00"/>
      </a:accent5>
      <a:accent6>
        <a:srgbClr val="949494"/>
      </a:accent6>
      <a:hlink>
        <a:srgbClr val="0072BC"/>
      </a:hlink>
      <a:folHlink>
        <a:srgbClr val="00DFED"/>
      </a:folHlink>
    </a:clrScheme>
    <a:fontScheme name="NTT DATA Fonts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solidFill>
            <a:schemeClr val="tx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50000"/>
            </a:schemeClr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A-Smart Navy">
      <a:srgbClr val="070F26"/>
    </a:custClr>
    <a:custClr name="B-White">
      <a:srgbClr val="FFFFFF"/>
    </a:custClr>
    <a:custClr name="C-Future Blue 150">
      <a:srgbClr val="005B96"/>
    </a:custClr>
    <a:custClr name="D-Future Blue">
      <a:srgbClr val="0072BC"/>
    </a:custClr>
    <a:custClr name="E-Future Blue 50">
      <a:srgbClr val="19A3FC"/>
    </a:custClr>
    <a:custClr name="F-Turquoise 100">
      <a:srgbClr val="009AA4"/>
    </a:custClr>
    <a:custClr name="G-Turquoise">
      <a:srgbClr val="00DFED"/>
    </a:custClr>
    <a:custClr name="H-Turquoise 50">
      <a:srgbClr val="7BF7FF"/>
    </a:custClr>
    <a:custClr name="I-Green 150">
      <a:srgbClr val="068941"/>
    </a:custClr>
    <a:custClr name="J-Green">
      <a:srgbClr val="00CB5D"/>
    </a:custClr>
    <a:custClr name="K-Green 50">
      <a:srgbClr val="38F990"/>
    </a:custClr>
    <a:custClr name="L-Yellow">
      <a:srgbClr val="FFC400"/>
    </a:custClr>
    <a:custClr name="M-Yellow 50">
      <a:srgbClr val="FFEDB2"/>
    </a:custClr>
    <a:custClr name="N-Yellow 100">
      <a:srgbClr val="FFDB66"/>
    </a:custClr>
    <a:custClr name="O-Orange 150">
      <a:srgbClr val="B22000"/>
    </a:custClr>
    <a:custClr name="P-Orange 100">
      <a:srgbClr val="E42600"/>
    </a:custClr>
    <a:custClr name="Q-Orange">
      <a:srgbClr val="FF7A00"/>
    </a:custClr>
    <a:custClr name="R-Grey 100">
      <a:srgbClr val="949494"/>
    </a:custClr>
    <a:custClr name="S-Grey 50">
      <a:srgbClr val="E8E8E8"/>
    </a:custClr>
    <a:custClr name="T-Black">
      <a:srgbClr val="000000"/>
    </a:custClr>
    <a:custClr name="U-Text Grey">
      <a:srgbClr val="2E404D"/>
    </a:custClr>
  </a:custClrLst>
  <a:extLst>
    <a:ext uri="{05A4C25C-085E-4340-85A3-A5531E510DB2}">
      <thm15:themeFamily xmlns:thm15="http://schemas.microsoft.com/office/thememl/2012/main" name="NTT DATA_Inc_PowerPoint_Template.potx" id="{637C3609-3D5F-4C59-AE27-EE9CD6B09220}" vid="{18C1C4CD-636E-4D41-A29D-192E2144D95A}"/>
    </a:ext>
  </a:extLst>
</a:theme>
</file>

<file path=ppt/theme/theme8.xml><?xml version="1.0" encoding="utf-8"?>
<a:theme xmlns:a="http://schemas.openxmlformats.org/drawingml/2006/main" name="Office Theme">
  <a:themeElements>
    <a:clrScheme name="NTT DATA EMEAL">
      <a:dk1>
        <a:srgbClr val="000000"/>
      </a:dk1>
      <a:lt1>
        <a:srgbClr val="FFFFFF"/>
      </a:lt1>
      <a:dk2>
        <a:srgbClr val="000000"/>
      </a:dk2>
      <a:lt2>
        <a:srgbClr val="D5DDF0"/>
      </a:lt2>
      <a:accent1>
        <a:srgbClr val="6785C1"/>
      </a:accent1>
      <a:accent2>
        <a:srgbClr val="070F26"/>
      </a:accent2>
      <a:accent3>
        <a:srgbClr val="0080B1"/>
      </a:accent3>
      <a:accent4>
        <a:srgbClr val="E6B600"/>
      </a:accent4>
      <a:accent5>
        <a:srgbClr val="BC4328"/>
      </a:accent5>
      <a:accent6>
        <a:srgbClr val="D5DDF0"/>
      </a:accent6>
      <a:hlink>
        <a:srgbClr val="6785C1"/>
      </a:hlink>
      <a:folHlink>
        <a:srgbClr val="070F26"/>
      </a:folHlink>
    </a:clrScheme>
    <a:fontScheme name="NTT DATA EME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NTT DATA EMEAL">
      <a:dk1>
        <a:srgbClr val="000000"/>
      </a:dk1>
      <a:lt1>
        <a:srgbClr val="FFFFFF"/>
      </a:lt1>
      <a:dk2>
        <a:srgbClr val="000000"/>
      </a:dk2>
      <a:lt2>
        <a:srgbClr val="D5DDF0"/>
      </a:lt2>
      <a:accent1>
        <a:srgbClr val="6785C1"/>
      </a:accent1>
      <a:accent2>
        <a:srgbClr val="070F26"/>
      </a:accent2>
      <a:accent3>
        <a:srgbClr val="0080B1"/>
      </a:accent3>
      <a:accent4>
        <a:srgbClr val="E6B600"/>
      </a:accent4>
      <a:accent5>
        <a:srgbClr val="BC4328"/>
      </a:accent5>
      <a:accent6>
        <a:srgbClr val="D5DDF0"/>
      </a:accent6>
      <a:hlink>
        <a:srgbClr val="6785C1"/>
      </a:hlink>
      <a:folHlink>
        <a:srgbClr val="070F26"/>
      </a:folHlink>
    </a:clrScheme>
    <a:fontScheme name="NTT DATA EME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1AB7562DAB8A043A149CF7DAAF61DA4" ma:contentTypeVersion="16" ma:contentTypeDescription="Create a new document." ma:contentTypeScope="" ma:versionID="9f7bc3bc5587451b34b6dcfdc6e58110">
  <xsd:schema xmlns:xsd="http://www.w3.org/2001/XMLSchema" xmlns:xs="http://www.w3.org/2001/XMLSchema" xmlns:p="http://schemas.microsoft.com/office/2006/metadata/properties" xmlns:ns2="5448a3d3-5c32-4eea-bba5-ba91f8c85f6a" xmlns:ns3="0a37eea3-f9b4-4023-a8f1-02cf3396ef83" targetNamespace="http://schemas.microsoft.com/office/2006/metadata/properties" ma:root="true" ma:fieldsID="0d314b620b06c8bf475dd1f5b5f56b91" ns2:_="" ns3:_="">
    <xsd:import namespace="5448a3d3-5c32-4eea-bba5-ba91f8c85f6a"/>
    <xsd:import namespace="0a37eea3-f9b4-4023-a8f1-02cf3396ef83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48a3d3-5c32-4eea-bba5-ba91f8c85f6a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Etiquetas de imagen" ma:readOnly="false" ma:fieldId="{5cf76f15-5ced-4ddc-b409-7134ff3c332f}" ma:taxonomyMulti="true" ma:sspId="d85e823d-31db-440c-980d-283f89df7c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37eea3-f9b4-4023-a8f1-02cf3396ef8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2ef3f819-6165-403e-8dd1-91a453dc4690}" ma:internalName="TaxCatchAll" ma:showField="CatchAllData" ma:web="0a37eea3-f9b4-4023-a8f1-02cf3396ef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a37eea3-f9b4-4023-a8f1-02cf3396ef83" xsi:nil="true"/>
    <lcf76f155ced4ddcb4097134ff3c332f xmlns="5448a3d3-5c32-4eea-bba5-ba91f8c85f6a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E6F240D-323B-4791-99D1-8BB479645D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48a3d3-5c32-4eea-bba5-ba91f8c85f6a"/>
    <ds:schemaRef ds:uri="0a37eea3-f9b4-4023-a8f1-02cf3396ef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E431FD5-E1B2-46AA-941C-F7D91F5605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3AAB603-AE1E-47CA-920F-DB11152A548B}">
  <ds:schemaRefs>
    <ds:schemaRef ds:uri="http://schemas.microsoft.com/office/2006/documentManagement/types"/>
    <ds:schemaRef ds:uri="5448a3d3-5c32-4eea-bba5-ba91f8c85f6a"/>
    <ds:schemaRef ds:uri="http://purl.org/dc/terms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0a37eea3-f9b4-4023-a8f1-02cf3396ef83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3048dc87-43f0-4100-9acb-ae1971c79395}" enabled="0" method="" siteId="{3048dc87-43f0-4100-9acb-ae1971c7939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NTT DATA_PPT template_small</Template>
  <TotalTime>0</TotalTime>
  <Words>691</Words>
  <Application>Microsoft Office PowerPoint</Application>
  <PresentationFormat>Panorámica</PresentationFormat>
  <Paragraphs>70</Paragraphs>
  <Slides>21</Slides>
  <Notes>4</Notes>
  <HiddenSlides>0</HiddenSlides>
  <MMClips>2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33" baseType="lpstr">
      <vt:lpstr>Arial</vt:lpstr>
      <vt:lpstr>Calibri</vt:lpstr>
      <vt:lpstr>Georgia</vt:lpstr>
      <vt:lpstr>Roboto</vt:lpstr>
      <vt:lpstr>NTT DATA EMEAL</vt:lpstr>
      <vt:lpstr>NTT DATA LIGHT </vt:lpstr>
      <vt:lpstr>NTT DATA DARK </vt:lpstr>
      <vt:lpstr>NTT DATA DARK </vt:lpstr>
      <vt:lpstr>1_NTT DATA DARK </vt:lpstr>
      <vt:lpstr>NTT DATA DARK </vt:lpstr>
      <vt:lpstr>Light Body Slides</vt:lpstr>
      <vt:lpstr>think-cell Folie</vt:lpstr>
      <vt:lpstr>EXPEDICIÓN KAFKA: Pintando la arquitectura de Eventos</vt:lpstr>
      <vt:lpstr>EXPEDICIÓN KAFKA: Pintando la arquitectura de Event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Raquel Capilla Blázquez</dc:creator>
  <cp:lastModifiedBy>Andres Escobar Cotan</cp:lastModifiedBy>
  <cp:revision>8</cp:revision>
  <dcterms:created xsi:type="dcterms:W3CDTF">2022-10-05T14:13:48Z</dcterms:created>
  <dcterms:modified xsi:type="dcterms:W3CDTF">2025-10-28T22:2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1AB7562DAB8A043A149CF7DAAF61DA4</vt:lpwstr>
  </property>
  <property fmtid="{D5CDD505-2E9C-101B-9397-08002B2CF9AE}" pid="3" name="T2KCategory">
    <vt:lpwstr>3;#Brand|832b67cf-1f4d-4e03-97fa-b9a01cdb780b</vt:lpwstr>
  </property>
  <property fmtid="{D5CDD505-2E9C-101B-9397-08002B2CF9AE}" pid="4" name="TogoLocations">
    <vt:lpwstr/>
  </property>
  <property fmtid="{D5CDD505-2E9C-101B-9397-08002B2CF9AE}" pid="5" name="MediaServiceImageTags">
    <vt:lpwstr/>
  </property>
  <property fmtid="{D5CDD505-2E9C-101B-9397-08002B2CF9AE}" pid="6" name="abe66603087445669b8b2920ee71eaef">
    <vt:lpwstr/>
  </property>
  <property fmtid="{D5CDD505-2E9C-101B-9397-08002B2CF9AE}" pid="7" name="TogoDepartments">
    <vt:lpwstr/>
  </property>
  <property fmtid="{D5CDD505-2E9C-101B-9397-08002B2CF9AE}" pid="8" name="TogoDocumentsCategory">
    <vt:lpwstr/>
  </property>
  <property fmtid="{D5CDD505-2E9C-101B-9397-08002B2CF9AE}" pid="9" name="TogoTags">
    <vt:lpwstr/>
  </property>
  <property fmtid="{D5CDD505-2E9C-101B-9397-08002B2CF9AE}" pid="10" name="a01feae194714aa882aedc460c3c0dc2">
    <vt:lpwstr/>
  </property>
</Properties>
</file>